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1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20" r:id="rId7"/>
    <p:sldMasterId id="2147483732" r:id="rId8"/>
    <p:sldMasterId id="2147484036" r:id="rId9"/>
    <p:sldMasterId id="2147483742" r:id="rId10"/>
    <p:sldMasterId id="2147483824" r:id="rId11"/>
    <p:sldMasterId id="2147483984" r:id="rId12"/>
    <p:sldMasterId id="2147483859" r:id="rId13"/>
    <p:sldMasterId id="2147483929" r:id="rId14"/>
    <p:sldMasterId id="2147483783" r:id="rId15"/>
  </p:sldMasterIdLst>
  <p:notesMasterIdLst>
    <p:notesMasterId r:id="rId46"/>
  </p:notesMasterIdLst>
  <p:handoutMasterIdLst>
    <p:handoutMasterId r:id="rId47"/>
  </p:handoutMasterIdLst>
  <p:sldIdLst>
    <p:sldId id="462" r:id="rId16"/>
    <p:sldId id="629" r:id="rId17"/>
    <p:sldId id="11474" r:id="rId18"/>
    <p:sldId id="11476" r:id="rId19"/>
    <p:sldId id="11477" r:id="rId20"/>
    <p:sldId id="11479" r:id="rId21"/>
    <p:sldId id="11478" r:id="rId22"/>
    <p:sldId id="11480" r:id="rId23"/>
    <p:sldId id="727" r:id="rId24"/>
    <p:sldId id="749" r:id="rId25"/>
    <p:sldId id="867" r:id="rId26"/>
    <p:sldId id="921" r:id="rId27"/>
    <p:sldId id="922" r:id="rId28"/>
    <p:sldId id="806" r:id="rId29"/>
    <p:sldId id="866" r:id="rId30"/>
    <p:sldId id="777" r:id="rId31"/>
    <p:sldId id="756" r:id="rId32"/>
    <p:sldId id="833" r:id="rId33"/>
    <p:sldId id="770" r:id="rId34"/>
    <p:sldId id="773" r:id="rId35"/>
    <p:sldId id="774" r:id="rId36"/>
    <p:sldId id="819" r:id="rId37"/>
    <p:sldId id="821" r:id="rId38"/>
    <p:sldId id="871" r:id="rId39"/>
    <p:sldId id="775" r:id="rId40"/>
    <p:sldId id="822" r:id="rId41"/>
    <p:sldId id="835" r:id="rId42"/>
    <p:sldId id="831" r:id="rId43"/>
    <p:sldId id="862" r:id="rId44"/>
    <p:sldId id="907" r:id="rId4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nect Student Registration" id="{5C75EF3B-86B8-6647-A64C-81E4B07450B2}">
          <p14:sldIdLst>
            <p14:sldId id="462"/>
            <p14:sldId id="629"/>
            <p14:sldId id="11474"/>
            <p14:sldId id="11476"/>
            <p14:sldId id="11477"/>
            <p14:sldId id="11479"/>
            <p14:sldId id="11478"/>
            <p14:sldId id="11480"/>
          </p14:sldIdLst>
        </p14:section>
        <p14:section name="TOC &amp; FDOC Checklist" id="{07A0D1FA-0933-1E40-A9D6-CC1E70FDDEF5}">
          <p14:sldIdLst>
            <p14:sldId id="727"/>
          </p14:sldIdLst>
        </p14:section>
        <p14:section name="CONNECT and Sharpen Companion FDOC" id="{A0C82838-10D7-43A1-9983-E9A634D22EF6}">
          <p14:sldIdLst>
            <p14:sldId id="749"/>
            <p14:sldId id="867"/>
            <p14:sldId id="921"/>
            <p14:sldId id="922"/>
            <p14:sldId id="806"/>
            <p14:sldId id="866"/>
            <p14:sldId id="777"/>
            <p14:sldId id="756"/>
          </p14:sldIdLst>
        </p14:section>
        <p14:section name="Sharpen Companion: Connect Non-IA, no LMS" id="{2E29F3FC-8B55-402E-8B0C-04C70D05169A}">
          <p14:sldIdLst>
            <p14:sldId id="833"/>
            <p14:sldId id="770"/>
            <p14:sldId id="773"/>
            <p14:sldId id="774"/>
            <p14:sldId id="819"/>
            <p14:sldId id="821"/>
            <p14:sldId id="871"/>
            <p14:sldId id="775"/>
            <p14:sldId id="822"/>
          </p14:sldIdLst>
        </p14:section>
        <p14:section name="Sharpen Companion: Connect Log-In, no LMS" id="{8AF5A141-43CC-4923-9220-086A34833D33}">
          <p14:sldIdLst>
            <p14:sldId id="835"/>
            <p14:sldId id="831"/>
            <p14:sldId id="862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89863" autoAdjust="0"/>
  </p:normalViewPr>
  <p:slideViewPr>
    <p:cSldViewPr snapToGrid="0">
      <p:cViewPr varScale="1">
        <p:scale>
          <a:sx n="104" d="100"/>
          <a:sy n="104" d="100"/>
        </p:scale>
        <p:origin x="232" y="4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slide" Target="slides/slide27.xml"/><Relationship Id="rId47" Type="http://schemas.openxmlformats.org/officeDocument/2006/relationships/handoutMaster" Target="handoutMasters/handoutMaster1.xml"/><Relationship Id="rId50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slide" Target="slides/slide30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slide" Target="slides/slide29.xml"/><Relationship Id="rId52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slide" Target="slides/slide28.xml"/><Relationship Id="rId48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5.xml"/><Relationship Id="rId41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696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792D7C-7077-49A2-6043-185CD13F88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7336EB-F27A-0281-8053-D53E10C33B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309209-BCF7-5CBE-6370-0E29E3B7CF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15C2E4-3337-BE78-698B-5CDBD79669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0144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415BE-95DE-4DD7-6011-37DC123B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059056-98C0-0FFA-9122-4E2AA5C220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523A4F-F7C8-EA79-5531-09DE61541B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F6188-0AD5-6C87-0037-76AF4DE33A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3608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3055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E19892-C516-93E7-7304-D3A11C3892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9AF9E1-1455-EFBC-7A65-62F01CF6DE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70CB1AE-21C2-4251-F6BF-B11C4B762F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F9A239-AFED-7C58-E8B7-3CDD9200AD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649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0864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8393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0098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00C2BD-3CC6-09A2-00DA-04718D1896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2F57035-324B-BE9D-E07F-9392B92CC7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BCF0FBC-7BC0-B016-5172-DF45020960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EACC67-13F3-E4F8-C656-FC85F8F8A1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5629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106683-BD56-067B-78C9-8D1EC4F159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BD692F8-887B-2B83-47C6-29E4692E48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AC4B8EB-FF14-5EB4-28A9-1A2D92427A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39D0B6-B065-EEB0-DD49-DFBDACA87A7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70450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2B7CA5-29D9-7E45-F8E6-4845BF266A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11CB062-5838-C8F1-07DC-049FA02CE5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46D438-90DD-F41B-978E-E3785C9407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E3D5A9-DF30-0CAF-0C72-950A2B59659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1138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6076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8483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2E2484-D72B-FCDF-B324-272244EA8A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F99DFAE-C4B6-45FA-55D4-EC1DCE1F30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E816A1F-4D1E-747C-F508-375386347F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C43F70-6DE1-24C9-7CC1-FA165B31F2C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50662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10F1F6-43C9-A04D-BE21-36E52EB380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E9B101-F899-6754-BE65-D39F75F391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6CA172-CE8F-E79F-1EFB-C591B0145A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9B351C-08F1-B435-6BF6-8328A23418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6346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8C3094-58F9-C6E0-E680-4CD95123F3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A92D68-5AD7-8089-5B48-092AD7FF79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618CC8-D6F6-3FD0-313E-821F86EC67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00"/>
              </a:lnSpc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09608A-81C0-CAA1-6D92-31622D11C4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87447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BD99EC-5EB9-7D08-1D62-1ED9B8C369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A26254-D953-E1E5-DA8F-C735C971DE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8C93C0-5670-5870-E2A1-48263669D9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00"/>
              </a:lnSpc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A9A7D9-B28B-C3BB-6592-06D38EB5C8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3437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122A62-A79E-4119-B229-FBF7365A5F3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9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7749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1F4AA9-FBAD-4349-DAE2-74DE39C58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5DE03E-AA78-2089-2D72-4E37044914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657EDD-AAA5-16A4-C365-DA1D52687B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8CA6C-AA40-EA62-990A-C5F58A4A4B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31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90F11-AC95-B7A2-2E34-BE03514B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A7DAC3-63BE-4B12-FF9C-FFAAB114FA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5C23F-3B07-BF25-2B92-48EFD4F26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EFF6A-F2B8-DB33-A599-39F0183DD0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60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3A782-D5A0-D999-8897-E32A878786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14309B-CD31-72F6-0959-6A4590D8DC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C5C408E-7AE3-AAFC-39D6-4BD7D480F9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33394B-3C62-9C18-E0C8-65AE2A9884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337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6BA09C-FA6D-2E31-A31A-11B853024A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A09232-9813-F9D0-B520-2BBEFBD649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F96E22-44E5-A3B8-BE31-298EA2989F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92C17-C704-010B-A7C5-14C6988137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4217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3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6BC6A701-16E4-384A-B480-07F21A4EB6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3" name="Headline 2">
            <a:extLst>
              <a:ext uri="{FF2B5EF4-FFF2-40B4-BE49-F238E27FC236}">
                <a16:creationId xmlns:a16="http://schemas.microsoft.com/office/drawing/2014/main" id="{5F149B35-BE87-6D4B-A76F-EE326743B2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8AAD9075-C0FD-4F01-4CCF-5A2EB36744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A8ABF64-91D8-2F48-97D4-73DC521F4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883309-70D3-0340-B14E-BE30AF3BDB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954877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B65D06A-C660-304A-BF51-E53969C245E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A407A57A-3991-234C-BB4D-C76AA72241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7613E3-528C-4B48-962F-218DA3062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4341A4-E791-D44E-AC57-83B8D4678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8412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200" cy="6131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5E1BBCE-1234-3F43-9A61-5DFC3A3C1E1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A78ABDEE-3F66-9544-9A11-A8EE097D13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459054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endParaRPr lang="en-US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129857A-4191-9E44-B536-ECD8F7869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D50FC85D-27CD-FF4D-8BFA-DF4E67E5B43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799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092D0355-EC65-A840-8C46-2F2D005A4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5827C1-94DC-5940-A85A-10CDA96F2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92134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481580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909D505E-311A-9742-9802-6BA20700E6E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3E5E1A-83D6-C743-AA00-2266C72F07C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Column 1">
            <a:extLst>
              <a:ext uri="{FF2B5EF4-FFF2-40B4-BE49-F238E27FC236}">
                <a16:creationId xmlns:a16="http://schemas.microsoft.com/office/drawing/2014/main" id="{84811588-2F3A-374E-A3FD-346248EA13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A93A090-B6E4-C645-ACB7-BA8B5BBC5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BB60C-87AB-3B4D-9FA6-2E22249D4D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23049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199" cy="61314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B24EE79-0614-1C44-9851-9AF8AE45475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7BE2A8A8-9F48-D340-BBE6-3CCC22FF30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359663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6C2F877-471D-F64A-908A-B18F17859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187EC-ADB8-8D41-852E-6A8DD6FB36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800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83F9BD00-9860-B24B-A115-ADCF1F87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7715F7-79AE-4445-BAD3-85182EECD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5966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C4D0ECBF-4E72-77E1-6744-5633305B89F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06282726-7744-71C7-52A7-0E097341F0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Headline 2">
            <a:extLst>
              <a:ext uri="{FF2B5EF4-FFF2-40B4-BE49-F238E27FC236}">
                <a16:creationId xmlns:a16="http://schemas.microsoft.com/office/drawing/2014/main" id="{3B9320FD-ECFE-2547-B24C-41807BE745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26A6B253-D5CC-3F6C-B9F3-19D6063668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E612916-D698-B646-8E99-73538FEC0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hapter Title">
            <a:extLst>
              <a:ext uri="{FF2B5EF4-FFF2-40B4-BE49-F238E27FC236}">
                <a16:creationId xmlns:a16="http://schemas.microsoft.com/office/drawing/2014/main" id="{3B15BE9E-15AB-6248-BC6C-65FA9B419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7113C-B06C-114F-9BC4-D9927D5ED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5070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 - Cover Slide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0097352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89860AF3-B11D-E044-9D8F-73B99FD308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026" y="2978282"/>
            <a:ext cx="2341460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4DC76FFC-829F-2E41-8010-283209A5F5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3004" y="354173"/>
            <a:ext cx="2493543" cy="211306"/>
          </a:xfr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FFD2E4EE-B4A2-8B45-B517-3A2016545C0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976B47-2A89-7E1C-4938-FDDCFFD5DF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3" name="Title">
            <a:extLst>
              <a:ext uri="{FF2B5EF4-FFF2-40B4-BE49-F238E27FC236}">
                <a16:creationId xmlns:a16="http://schemas.microsoft.com/office/drawing/2014/main" id="{4134A905-D06B-FAE7-A7C4-664E8D45C9AD}"/>
              </a:ext>
            </a:extLst>
          </p:cNvPr>
          <p:cNvSpPr txBox="1">
            <a:spLocks/>
          </p:cNvSpPr>
          <p:nvPr userDrawn="1"/>
        </p:nvSpPr>
        <p:spPr>
          <a:xfrm>
            <a:off x="682672" y="7515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3051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8272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8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6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101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8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FEEBE7-2301-DAE8-5FED-C2008DAEA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21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  <p:sldLayoutId id="2147483729" r:id="rId3"/>
    <p:sldLayoutId id="2147483724" r:id="rId4"/>
    <p:sldLayoutId id="2147483726" r:id="rId5"/>
    <p:sldLayoutId id="2147483728" r:id="rId6"/>
    <p:sldLayoutId id="2147483727" r:id="rId7"/>
    <p:sldLayoutId id="2147483730" r:id="rId8"/>
    <p:sldLayoutId id="214748373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0" r:id="rId11"/>
    <p:sldLayoutId id="2147484041" r:id="rId12"/>
    <p:sldLayoutId id="2147484042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4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3.png"/><Relationship Id="rId5" Type="http://schemas.openxmlformats.org/officeDocument/2006/relationships/image" Target="../media/image52.emf"/><Relationship Id="rId4" Type="http://schemas.openxmlformats.org/officeDocument/2006/relationships/image" Target="../media/image5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hyperlink" Target="https://apps.apple.com/us/app/sharpen-college-exam-prep/id1595642363" TargetMode="External"/><Relationship Id="rId7" Type="http://schemas.openxmlformats.org/officeDocument/2006/relationships/image" Target="../media/image57.png"/><Relationship Id="rId2" Type="http://schemas.openxmlformats.org/officeDocument/2006/relationships/hyperlink" Target="https://play.google.com/store/apps/details?id=com.mheducation.redi&amp;hl=en_US" TargetMode="Externa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hyperlink" Target="http://www.studysharpen.com" TargetMode="External"/><Relationship Id="rId9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heducation.com/highered/support/student/connect.html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3.xml"/><Relationship Id="rId6" Type="http://schemas.openxmlformats.org/officeDocument/2006/relationships/image" Target="../media/image60.png"/><Relationship Id="rId5" Type="http://schemas.openxmlformats.org/officeDocument/2006/relationships/image" Target="../media/image30.png"/><Relationship Id="rId4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61.png"/><Relationship Id="rId4" Type="http://schemas.openxmlformats.org/officeDocument/2006/relationships/hyperlink" Target="http://connect.mheducation.com/class/abc1234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6.png"/><Relationship Id="rId4" Type="http://schemas.openxmlformats.org/officeDocument/2006/relationships/image" Target="../media/image6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72.png"/><Relationship Id="rId4" Type="http://schemas.openxmlformats.org/officeDocument/2006/relationships/hyperlink" Target="https://www.mheducation.com/highered/support/support-at-every-step/student/connect/temporary-access-ending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76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30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34.sv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4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4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C9C857-E79A-F545-BAB3-908AA67D1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Connect ®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5FD6EFB-269E-194A-A965-948F2D8D67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tudent Registration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F26C10-15BC-1541-80F0-D47778F796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08087" y="4122407"/>
            <a:ext cx="4887913" cy="723986"/>
          </a:xfrm>
        </p:spPr>
        <p:txBody>
          <a:bodyPr/>
          <a:lstStyle/>
          <a:p>
            <a:r>
              <a:rPr lang="en-US" dirty="0"/>
              <a:t>Connect Standalone</a:t>
            </a:r>
          </a:p>
        </p:txBody>
      </p:sp>
    </p:spTree>
    <p:extLst>
      <p:ext uri="{BB962C8B-B14F-4D97-AF65-F5344CB8AC3E}">
        <p14:creationId xmlns:p14="http://schemas.microsoft.com/office/powerpoint/2010/main" val="1431422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/>
          <a:lstStyle/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0135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ECB67-2626-98B6-7B2E-FC76D302C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202517-75C5-6C46-BC82-F842B0B39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C0A3F45-C847-CAC3-F71D-3D129B93ED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Connect! By using these platforms together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tools customized for your course to help you learn in just 5 minutes. The app's AI engine delivers personalized study tips based on your progress, so you can see what you've mastered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Connect or the LMS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6AE97EF-0C45-24CA-FE18-8ECC8ED539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68DC74-3731-B670-7F27-B5FB241102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pic>
        <p:nvPicPr>
          <p:cNvPr id="7" name="Picture 6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25FAB81B-B0F0-B287-4225-8C00219481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0447" y="4972640"/>
            <a:ext cx="2546193" cy="1888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9245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CF51B435-6E5D-6EBD-DD9B-4F902C1222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6731786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FA2E2-6E98-FB93-D509-F1AA29412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A8EBE8FB-1025-7E4C-41DA-28BE7BBAF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00517CD-2ED7-68EF-1595-2AECB3384B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FA73ADC0-44B8-C9A8-1083-D46A818AAF7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EE10A906-799B-8E13-E8B4-B8ECD06573B8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31BD18CA-E462-26DA-7134-B0B2AD1197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2BD7A65A-CB13-3540-19A1-A6F893A6D8C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C72D5321-6A39-DE58-DBE9-530C5E8E848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9325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C51BE-8D8C-5D3A-1A88-37C9291EE7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7E6315-7A9A-B783-CF4C-EDA0D5DD8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tips to make the most of Connect: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B6105D-F1A2-29D1-4CA2-FB347CD25F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tay Organized </a:t>
            </a:r>
            <a:endParaRPr lang="en-US" b="1">
              <a:solidFill>
                <a:schemeClr val="tx1"/>
              </a:solidFill>
            </a:endParaRP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igital Course Planner has all your upcoming Connect assignments in one place, and you can customize calendar alerts. </a:t>
            </a: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0">
              <a:spcAft>
                <a:spcPts val="600"/>
              </a:spcAft>
              <a:buNone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Focus On What Matters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Use Reports to track your performance and understanding of key concepts.</a:t>
            </a:r>
          </a:p>
          <a:p>
            <a:pPr marL="572770" lvl="1" indent="-342900">
              <a:spcAft>
                <a:spcPts val="600"/>
              </a:spcAft>
            </a:pPr>
            <a:endParaRPr lang="en-US" sz="1800"/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Learn On-the-Go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ownload the free </a:t>
            </a:r>
            <a:r>
              <a:rPr lang="en-US" sz="1800" err="1">
                <a:latin typeface="Arial"/>
                <a:cs typeface="Arial"/>
              </a:rPr>
              <a:t>ReadAnywhere</a:t>
            </a:r>
            <a:r>
              <a:rPr lang="en-US" sz="1800">
                <a:latin typeface="Arial"/>
                <a:cs typeface="Arial"/>
              </a:rPr>
              <a:t> app to take your eBook* and </a:t>
            </a:r>
            <a:r>
              <a:rPr lang="en-US" sz="1800" err="1">
                <a:latin typeface="Arial"/>
                <a:cs typeface="Arial"/>
              </a:rPr>
              <a:t>SmartBook</a:t>
            </a:r>
            <a:r>
              <a:rPr lang="en-US" sz="1800" baseline="30000">
                <a:latin typeface="Arial"/>
                <a:cs typeface="Arial"/>
              </a:rPr>
              <a:t>®</a:t>
            </a:r>
            <a:r>
              <a:rPr lang="en-US" sz="1800">
                <a:latin typeface="Arial"/>
                <a:cs typeface="Arial"/>
              </a:rPr>
              <a:t>* with you—online and offline, 24/7. </a:t>
            </a:r>
          </a:p>
          <a:p>
            <a:pPr lvl="1" indent="0">
              <a:spcAft>
                <a:spcPts val="600"/>
              </a:spcAft>
              <a:buNone/>
            </a:pPr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/>
            <a:r>
              <a:rPr lang="en-US" sz="1400">
                <a:latin typeface="Arial"/>
                <a:cs typeface="Arial"/>
              </a:rPr>
              <a:t>*</a:t>
            </a:r>
            <a:r>
              <a:rPr lang="en-US" sz="1400" i="1" err="1">
                <a:latin typeface="Arial"/>
                <a:cs typeface="Arial"/>
              </a:rPr>
              <a:t>ReadAnywhere</a:t>
            </a:r>
            <a:r>
              <a:rPr lang="en-US" sz="1400" i="1">
                <a:latin typeface="Arial"/>
                <a:cs typeface="Arial"/>
              </a:rPr>
              <a:t> supports newer eBooks and </a:t>
            </a:r>
            <a:r>
              <a:rPr lang="en-US" sz="1400" i="1" err="1">
                <a:latin typeface="Arial"/>
                <a:cs typeface="Arial"/>
              </a:rPr>
              <a:t>SmartBook</a:t>
            </a:r>
            <a:r>
              <a:rPr lang="en-US" sz="1400" i="1">
                <a:latin typeface="Arial"/>
                <a:cs typeface="Arial"/>
              </a:rPr>
              <a:t>. May not be available in your specific Connect course.</a:t>
            </a:r>
            <a:endParaRPr lang="en-US">
              <a:latin typeface="Arial"/>
              <a:cs typeface="Arial"/>
            </a:endParaRPr>
          </a:p>
          <a:p>
            <a:endParaRPr lang="en-US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FD1BB5C-83F9-D82B-97A0-611541C62A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8BDDDD4-0CCE-5CC2-6BC3-51BFB1453D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8722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03D2C7-0C6B-79EB-491C-346307AE7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8B42C3-BC93-F8B8-DD07-9E5BF9282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82B4A1-71EF-18ED-DCD8-78270D5BD1D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482496"/>
            <a:ext cx="10706330" cy="437409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  </a:t>
            </a:r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Connect or LMS launch points. </a:t>
            </a:r>
            <a:endParaRPr lang="en-US" sz="1800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300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FDE8D9A-7100-30DC-B8F3-B4A80AF571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2D7CDFD-6A1E-3B56-2F7E-1CF15406DC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31487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175817-792A-094E-A220-22C149BB8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579" y="835665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Study on your Smartphone or Tablet!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C5671F-AF2D-46C1-984C-E962B4AE6DF3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487258" y="1362128"/>
            <a:ext cx="6570190" cy="269304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sz="1300" b="1" err="1">
                <a:latin typeface="Arial"/>
                <a:cs typeface="Arial"/>
              </a:rPr>
              <a:t>ReadAnywhere</a:t>
            </a:r>
            <a:r>
              <a:rPr lang="en-US" sz="1300" b="1" baseline="30000">
                <a:latin typeface="Arial"/>
                <a:cs typeface="Arial"/>
              </a:rPr>
              <a:t>®</a:t>
            </a:r>
            <a:r>
              <a:rPr lang="en-US" sz="1300" b="1">
                <a:latin typeface="Arial"/>
                <a:cs typeface="Arial"/>
              </a:rPr>
              <a:t> 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Download the fre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 to your Android or iOS smartphone or tablet and access your course eBook for offline study access anytime, anywhere. </a:t>
            </a: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More than </a:t>
            </a:r>
            <a:r>
              <a:rPr lang="en-US" sz="1300" u="sng">
                <a:latin typeface="Arial"/>
                <a:cs typeface="Arial"/>
              </a:rPr>
              <a:t>1 million students and instructors</a:t>
            </a:r>
            <a:r>
              <a:rPr lang="en-US" sz="1300">
                <a:latin typeface="Arial"/>
                <a:cs typeface="Arial"/>
              </a:rPr>
              <a:t> have downloaded th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, which has a 4.7 rating on the App Store.</a:t>
            </a:r>
          </a:p>
          <a:p>
            <a:endParaRPr lang="en-US" sz="1300"/>
          </a:p>
          <a:p>
            <a:r>
              <a:rPr lang="en-US" sz="1300" b="1">
                <a:latin typeface="Arial"/>
                <a:cs typeface="Arial"/>
              </a:rPr>
              <a:t>Connect Tablet 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Log into Connect on your tablet browser and then add it to your home screen to complete assignments. </a:t>
            </a:r>
            <a:r>
              <a:rPr lang="en-US" sz="1300" i="1">
                <a:latin typeface="Arial"/>
                <a:cs typeface="Arial"/>
              </a:rPr>
              <a:t>The Connect Tablet App is not recommended for smartphone use.</a:t>
            </a:r>
            <a:endParaRPr lang="en-US" sz="1300">
              <a:latin typeface="Arial"/>
              <a:cs typeface="Arial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E36E08D-B7A3-325F-533A-E8193A8CCC4F}"/>
              </a:ext>
            </a:extLst>
          </p:cNvPr>
          <p:cNvSpPr txBox="1">
            <a:spLocks/>
          </p:cNvSpPr>
          <p:nvPr/>
        </p:nvSpPr>
        <p:spPr>
          <a:xfrm>
            <a:off x="485444" y="4172456"/>
            <a:ext cx="6570190" cy="249299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b="1">
                <a:latin typeface="Arial"/>
                <a:cs typeface="Arial"/>
              </a:rPr>
              <a:t>Sharpen Exam Prep App</a:t>
            </a:r>
            <a:endParaRPr lang="en-US" sz="1300"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Find the Sharpen launch point in Connect, GO, or your LMS. Click get started!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Then download the Sharpen app to your </a:t>
            </a:r>
            <a:r>
              <a:rPr lang="en-US" sz="1300">
                <a:latin typeface="Arial"/>
                <a:cs typeface="Arial"/>
                <a:hlinkClick r:id="rId2"/>
              </a:rPr>
              <a:t>Android</a:t>
            </a:r>
            <a:r>
              <a:rPr lang="en-US" sz="1300">
                <a:latin typeface="Arial"/>
                <a:cs typeface="Arial"/>
              </a:rPr>
              <a:t> or </a:t>
            </a:r>
            <a:r>
              <a:rPr lang="en-US" sz="1300">
                <a:latin typeface="Arial"/>
                <a:cs typeface="Arial"/>
                <a:hlinkClick r:id="rId3"/>
              </a:rPr>
              <a:t>iOS</a:t>
            </a:r>
            <a:r>
              <a:rPr lang="en-US" sz="1300">
                <a:latin typeface="Arial"/>
                <a:cs typeface="Arial"/>
              </a:rPr>
              <a:t> smartphone to access your study content anytime, anywhere.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On your tablet or laptop? Log into Sharpen web at </a:t>
            </a:r>
            <a:r>
              <a:rPr lang="en-US" sz="1300">
                <a:latin typeface="Arial"/>
                <a:cs typeface="Arial"/>
                <a:hlinkClick r:id="rId4"/>
              </a:rPr>
              <a:t>www.studysharpen.com</a:t>
            </a:r>
            <a:r>
              <a:rPr lang="en-US" sz="1300">
                <a:latin typeface="Arial"/>
                <a:cs typeface="Arial"/>
              </a:rPr>
              <a:t> to access your content. Always sign in with your school email address so your progress is up to date on any device.</a:t>
            </a:r>
            <a:endParaRPr lang="en-US" sz="1300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Close to </a:t>
            </a:r>
            <a:r>
              <a:rPr lang="en-US" sz="1300" u="sng">
                <a:latin typeface="Arial"/>
                <a:cs typeface="Arial"/>
              </a:rPr>
              <a:t>1 million students</a:t>
            </a:r>
            <a:r>
              <a:rPr lang="en-US" sz="1300">
                <a:latin typeface="Arial"/>
                <a:cs typeface="Arial"/>
              </a:rPr>
              <a:t> have tried Sharpen, which has a 4.7 App Store rating.</a:t>
            </a:r>
            <a:endParaRPr lang="en-US" sz="1300"/>
          </a:p>
        </p:txBody>
      </p:sp>
      <p:pic>
        <p:nvPicPr>
          <p:cNvPr id="9" name="Picture 8" descr="Image of the ReadAnywhere App Logo.">
            <a:extLst>
              <a:ext uri="{FF2B5EF4-FFF2-40B4-BE49-F238E27FC236}">
                <a16:creationId xmlns:a16="http://schemas.microsoft.com/office/drawing/2014/main" id="{E9C0DE07-94EA-47D2-9677-F594AD5885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0331" y="1015067"/>
            <a:ext cx="2316113" cy="2412672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0142E43-DE2B-6632-4863-878684C53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4" descr="Image of the Sharpen logo.">
            <a:extLst>
              <a:ext uri="{FF2B5EF4-FFF2-40B4-BE49-F238E27FC236}">
                <a16:creationId xmlns:a16="http://schemas.microsoft.com/office/drawing/2014/main" id="{081C7F18-E127-826A-1D86-6108352F62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2769" y="3428697"/>
            <a:ext cx="2056966" cy="2112737"/>
          </a:xfrm>
          <a:prstGeom prst="roundRect">
            <a:avLst/>
          </a:prstGeom>
        </p:spPr>
      </p:pic>
      <p:pic>
        <p:nvPicPr>
          <p:cNvPr id="8" name="Picture 7" descr="Google Play Store icon.">
            <a:extLst>
              <a:ext uri="{FF2B5EF4-FFF2-40B4-BE49-F238E27FC236}">
                <a16:creationId xmlns:a16="http://schemas.microsoft.com/office/drawing/2014/main" id="{50E6952B-DBF3-0425-E3E1-B8EB79D1DF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05546" y="5730707"/>
            <a:ext cx="1406463" cy="455418"/>
          </a:xfrm>
          <a:prstGeom prst="rect">
            <a:avLst/>
          </a:prstGeom>
        </p:spPr>
      </p:pic>
      <p:pic>
        <p:nvPicPr>
          <p:cNvPr id="10" name="Picture 9" descr="Apple App Store icon.">
            <a:extLst>
              <a:ext uri="{FF2B5EF4-FFF2-40B4-BE49-F238E27FC236}">
                <a16:creationId xmlns:a16="http://schemas.microsoft.com/office/drawing/2014/main" id="{6103DF3C-37C4-72FB-C49B-56BA553F54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18783" y="5732826"/>
            <a:ext cx="1319080" cy="46049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1A92296-2EAE-60D8-EB39-80A7247D3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472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83292B-5D85-5CE6-D8BC-45D98E7161D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81500" y="1306513"/>
            <a:ext cx="7018338" cy="52832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nect Student Suppo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arn how to register, navigate Connect, use SmartBook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download the ReadAnywhere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app, and more!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heducation.com/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ighered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support/student/connect.html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us, acces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chnica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ppor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via chat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 phone at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800) 331-5094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ours of Opera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nday: 12 PM to 12 AM 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nday–Thursday: 24 hour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riday: 12 AM to 9 PM E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turday: 10 AM to 8 PM E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E766CE-7799-F25F-DBD6-7360E926E0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723" t="28837" r="58035" b="14977"/>
          <a:stretch/>
        </p:blipFill>
        <p:spPr>
          <a:xfrm>
            <a:off x="452062" y="2139190"/>
            <a:ext cx="3174714" cy="3317841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FB1905E1-2753-B4E9-BE76-D17C5562F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  <p:pic>
        <p:nvPicPr>
          <p:cNvPr id="2" name="Picture 6" descr="QR code to scan to access Connect student support.">
            <a:extLst>
              <a:ext uri="{FF2B5EF4-FFF2-40B4-BE49-F238E27FC236}">
                <a16:creationId xmlns:a16="http://schemas.microsoft.com/office/drawing/2014/main" id="{42D9CE48-3DF9-4968-D117-5A388ADAC9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7258" y="3508780"/>
            <a:ext cx="3033485" cy="3021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4325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6A75A5-1F93-1C00-6BC1-5E2E11A4552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3E742E-5DE6-1267-B23F-BEF5865D5C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754D917C-DD76-1075-3E47-468B35D245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F53623E4-84C1-B567-C9CB-61FE2B7757EC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40C1704-D7BA-4F99-813F-32C5287964CC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7BAA87A-6C13-3D4F-B59C-0A4F9413D9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51"/>
          <a:stretch/>
        </p:blipFill>
        <p:spPr>
          <a:xfrm>
            <a:off x="3884263" y="2307272"/>
            <a:ext cx="4832074" cy="455072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BB1E1B5-2F58-9A3D-5E05-6A2F6EAF308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Purchase Flow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IA Registration: Connect without a Learning Management System (LMS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8" name="Picture 7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881C196C-E516-1C1C-9E5E-A131C454D60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4008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 algn="l"/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sz="800" baseline="30000">
                <a:latin typeface="Arial"/>
                <a:cs typeface="Arial"/>
              </a:rPr>
              <a:t>®</a:t>
            </a:r>
            <a:endParaRPr lang="en-US" sz="80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7637BD4-5C8B-448B-98F7-B5F26B4401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3F4407B9-C4FE-A26A-3361-0E8BFA6B376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3743850" y="1112229"/>
            <a:ext cx="5796287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1: Register Directly in Connec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1B4B5C7-58B2-9F92-36C3-32D5E784469A}"/>
              </a:ext>
            </a:extLst>
          </p:cNvPr>
          <p:cNvSpPr txBox="1">
            <a:spLocks/>
          </p:cNvSpPr>
          <p:nvPr/>
        </p:nvSpPr>
        <p:spPr>
          <a:xfrm>
            <a:off x="7332877" y="2323155"/>
            <a:ext cx="4605031" cy="35244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Aft>
                <a:spcPts val="900"/>
              </a:spcAft>
              <a:buNone/>
            </a:pPr>
            <a:r>
              <a:rPr lang="en-US" sz="1800">
                <a:latin typeface="Arial"/>
                <a:cs typeface="Arial"/>
              </a:rPr>
              <a:t>Enter your course URL provided by your instructor, something like </a:t>
            </a:r>
            <a:r>
              <a:rPr lang="en-US" sz="1800">
                <a:latin typeface="Arial"/>
                <a:ea typeface="Calibri"/>
                <a:cs typeface="Calibri"/>
                <a:hlinkClick r:id="rId4"/>
              </a:rPr>
              <a:t>connect.mheducation.com/class/abc1234</a:t>
            </a:r>
            <a:r>
              <a:rPr lang="en-US" sz="1800">
                <a:latin typeface="Arial"/>
                <a:ea typeface="Calibri"/>
                <a:cs typeface="Calibri"/>
              </a:rPr>
              <a:t> </a:t>
            </a:r>
            <a:endParaRPr lang="en-US" sz="1800">
              <a:latin typeface="Arial"/>
            </a:endParaRPr>
          </a:p>
          <a:p>
            <a:pPr marL="0" indent="0">
              <a:lnSpc>
                <a:spcPct val="120000"/>
              </a:lnSpc>
              <a:spcAft>
                <a:spcPts val="900"/>
              </a:spcAft>
              <a:buNone/>
            </a:pPr>
            <a:r>
              <a:rPr lang="en-US" sz="1800">
                <a:latin typeface="Arial"/>
                <a:cs typeface="Arial"/>
              </a:rPr>
              <a:t>Enter your school email address and click </a:t>
            </a:r>
            <a:r>
              <a:rPr lang="en-US" sz="1800" b="1">
                <a:latin typeface="Arial"/>
                <a:cs typeface="Arial"/>
              </a:rPr>
              <a:t>Continue</a:t>
            </a:r>
            <a:r>
              <a:rPr lang="en-US" sz="1800">
                <a:latin typeface="Arial"/>
                <a:cs typeface="Arial"/>
              </a:rPr>
              <a:t>.</a:t>
            </a:r>
          </a:p>
          <a:p>
            <a:pPr marL="0" indent="0">
              <a:lnSpc>
                <a:spcPct val="120000"/>
              </a:lnSpc>
              <a:spcAft>
                <a:spcPts val="900"/>
              </a:spcAft>
              <a:buNone/>
            </a:pPr>
            <a:r>
              <a:rPr lang="en-US" sz="1800">
                <a:latin typeface="Arial"/>
                <a:cs typeface="Arial"/>
              </a:rPr>
              <a:t>If you receive the message "</a:t>
            </a:r>
            <a:r>
              <a:rPr lang="en-US" sz="1800" b="1">
                <a:latin typeface="Arial"/>
                <a:cs typeface="Arial"/>
              </a:rPr>
              <a:t>You have a Connect Account</a:t>
            </a:r>
            <a:r>
              <a:rPr lang="en-US" sz="1800">
                <a:latin typeface="Arial"/>
                <a:cs typeface="Arial"/>
              </a:rPr>
              <a:t> but have forgotten your password," click </a:t>
            </a:r>
            <a:r>
              <a:rPr lang="en-US" sz="1800" b="1">
                <a:latin typeface="Arial"/>
                <a:cs typeface="Arial"/>
              </a:rPr>
              <a:t>Forgot Password</a:t>
            </a:r>
            <a:r>
              <a:rPr lang="en-US" sz="1800">
                <a:latin typeface="Arial"/>
                <a:cs typeface="Arial"/>
              </a:rPr>
              <a:t>. </a:t>
            </a:r>
          </a:p>
        </p:txBody>
      </p:sp>
      <p:pic>
        <p:nvPicPr>
          <p:cNvPr id="5" name="Picture 4" descr="Screenshot of Connect log-in screen.">
            <a:extLst>
              <a:ext uri="{FF2B5EF4-FFF2-40B4-BE49-F238E27FC236}">
                <a16:creationId xmlns:a16="http://schemas.microsoft.com/office/drawing/2014/main" id="{3791C6D5-B7F8-4FF1-A5CC-5AA0F44F6B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7915" y="2463798"/>
            <a:ext cx="6388102" cy="2783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959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A43DFC8-760D-FA5E-F9F9-479122304F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12812"/>
            <a:ext cx="12192000" cy="6845188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There is a 95% student satisfaction rate reported.&#10;&#10;&#10;&#10;&#10;">
            <a:extLst>
              <a:ext uri="{FF2B5EF4-FFF2-40B4-BE49-F238E27FC236}">
                <a16:creationId xmlns:a16="http://schemas.microsoft.com/office/drawing/2014/main" id="{1B13A01B-16DB-B0E2-5766-38690CAA92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88755" y="4434030"/>
            <a:ext cx="2227431" cy="2423969"/>
          </a:xfrm>
          <a:prstGeom prst="rect">
            <a:avLst/>
          </a:prstGeom>
        </p:spPr>
      </p:pic>
      <p:pic>
        <p:nvPicPr>
          <p:cNvPr id="13" name="Picture 12" descr="88% of students using Connect report that they find it easy to use.">
            <a:extLst>
              <a:ext uri="{FF2B5EF4-FFF2-40B4-BE49-F238E27FC236}">
                <a16:creationId xmlns:a16="http://schemas.microsoft.com/office/drawing/2014/main" id="{A585DD2F-02DA-8B7A-EADE-717BCC7FDF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9703" y="4434031"/>
            <a:ext cx="2734733" cy="2423968"/>
          </a:xfrm>
          <a:prstGeom prst="rect">
            <a:avLst/>
          </a:prstGeom>
        </p:spPr>
      </p:pic>
      <p:pic>
        <p:nvPicPr>
          <p:cNvPr id="11" name="Picture 10" descr="There is a 99% uptime and reliability reported among users.">
            <a:extLst>
              <a:ext uri="{FF2B5EF4-FFF2-40B4-BE49-F238E27FC236}">
                <a16:creationId xmlns:a16="http://schemas.microsoft.com/office/drawing/2014/main" id="{AA9CA2E7-A54B-32DB-2E9E-4D7112E454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4046" y="4434031"/>
            <a:ext cx="2197732" cy="2423969"/>
          </a:xfrm>
          <a:prstGeom prst="rect">
            <a:avLst/>
          </a:prstGeom>
        </p:spPr>
      </p:pic>
      <p:pic>
        <p:nvPicPr>
          <p:cNvPr id="5" name="Picture 4" descr="A computer with a chat window&#10;&#10;AI-generated content may be incorrect.">
            <a:extLst>
              <a:ext uri="{FF2B5EF4-FFF2-40B4-BE49-F238E27FC236}">
                <a16:creationId xmlns:a16="http://schemas.microsoft.com/office/drawing/2014/main" id="{4EB64396-0494-E881-FF52-7D72ADF54C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06133" y="1413000"/>
            <a:ext cx="5268209" cy="2782088"/>
          </a:xfrm>
          <a:prstGeom prst="rect">
            <a:avLst/>
          </a:prstGeom>
        </p:spPr>
      </p:pic>
      <p:sp>
        <p:nvSpPr>
          <p:cNvPr id="2" name="Content">
            <a:extLst>
              <a:ext uri="{FF2B5EF4-FFF2-40B4-BE49-F238E27FC236}">
                <a16:creationId xmlns:a16="http://schemas.microsoft.com/office/drawing/2014/main" id="{2DCC113D-1C05-E944-2ED5-9EAFBCBCFA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0905" y="2423969"/>
            <a:ext cx="3759272" cy="2911396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  <a:latin typeface="Arial"/>
                <a:cs typeface="Arial"/>
              </a:rPr>
              <a:t>Personalized Learning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Interactive, Course-Specific Tool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Built-in AI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Mobile eBook Acces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Affordable Materials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Quality Content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Support!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75B486-3B8F-1D3E-7066-0C1216A32E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88755" y="434586"/>
            <a:ext cx="2341460" cy="550591"/>
          </a:xfrm>
          <a:prstGeom prst="rect">
            <a:avLst/>
          </a:prstGeom>
        </p:spPr>
      </p:pic>
      <p:sp>
        <p:nvSpPr>
          <p:cNvPr id="27" name="Title 26">
            <a:extLst>
              <a:ext uri="{FF2B5EF4-FFF2-40B4-BE49-F238E27FC236}">
                <a16:creationId xmlns:a16="http://schemas.microsoft.com/office/drawing/2014/main" id="{A59AA992-546C-FC9F-640A-FC9DC982918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63517" y="434586"/>
            <a:ext cx="8898789" cy="138499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nect is your personalized digital learning experience designed to help you optimize study time and ramp up your grade potential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11581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C0893F-D53C-B732-95E9-8F1B54EA1C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7BE609F-265B-6ECA-7C73-83EB43CFBD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408F0C6-920D-FFAF-32E6-F5AC6116C4E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52425" y="1252734"/>
            <a:ext cx="475892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2: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E6BDACE-3C95-DBBB-5431-9DD0077E9F93}"/>
              </a:ext>
            </a:extLst>
          </p:cNvPr>
          <p:cNvSpPr txBox="1">
            <a:spLocks/>
          </p:cNvSpPr>
          <p:nvPr/>
        </p:nvSpPr>
        <p:spPr>
          <a:xfrm>
            <a:off x="6755934" y="1876840"/>
            <a:ext cx="3625320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 sz="1800">
                <a:latin typeface="Arial"/>
                <a:cs typeface="Arial"/>
              </a:rPr>
              <a:t>Create your account: </a:t>
            </a:r>
            <a:br>
              <a:rPr lang="en-US" sz="1800">
                <a:latin typeface="Arial"/>
                <a:cs typeface="Arial"/>
              </a:rPr>
            </a:br>
            <a:r>
              <a:rPr lang="en-US" sz="1800">
                <a:latin typeface="Arial"/>
                <a:cs typeface="Arial"/>
              </a:rPr>
              <a:t>Enter your school email, First and Last Name, create a password, and select a security question. </a:t>
            </a:r>
            <a:endParaRPr lang="en-US" sz="1800"/>
          </a:p>
          <a:p>
            <a:pPr>
              <a:spcAft>
                <a:spcPts val="900"/>
              </a:spcAft>
            </a:pPr>
            <a:r>
              <a:rPr lang="en-US" sz="1800">
                <a:latin typeface="Arial"/>
                <a:cs typeface="Arial"/>
              </a:rPr>
              <a:t>Always use your school email address when creating an account. </a:t>
            </a:r>
            <a:endParaRPr lang="en-US" sz="1800"/>
          </a:p>
          <a:p>
            <a:r>
              <a:rPr lang="en-US" sz="1800">
                <a:latin typeface="Arial"/>
                <a:cs typeface="Arial"/>
              </a:rPr>
              <a:t>To receive text alerts, enter your mobile number.  Agree to the Terms and Conditions and then click </a:t>
            </a:r>
            <a:r>
              <a:rPr lang="en-US" sz="1800" b="1">
                <a:latin typeface="Arial"/>
                <a:cs typeface="Arial"/>
              </a:rPr>
              <a:t>Create Account</a:t>
            </a:r>
            <a:r>
              <a:rPr lang="en-US" sz="1800">
                <a:latin typeface="Arial"/>
                <a:cs typeface="Arial"/>
              </a:rPr>
              <a:t>.</a:t>
            </a:r>
          </a:p>
        </p:txBody>
      </p:sp>
      <p:pic>
        <p:nvPicPr>
          <p:cNvPr id="2" name="Picture 1" descr="Screenshot of Connect registration screen.">
            <a:extLst>
              <a:ext uri="{FF2B5EF4-FFF2-40B4-BE49-F238E27FC236}">
                <a16:creationId xmlns:a16="http://schemas.microsoft.com/office/drawing/2014/main" id="{9624270D-E1EF-C193-A646-F41DF2AA49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056" y="852233"/>
            <a:ext cx="2030269" cy="584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0970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C0893F-D53C-B732-95E9-8F1B54EA1C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7BE609F-265B-6ECA-7C73-83EB43CFBD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408F0C6-920D-FFAF-32E6-F5AC6116C4E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E6BDACE-3C95-DBBB-5431-9DD0077E9F93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You have three registration options (right to left):</a:t>
            </a:r>
            <a:endParaRPr lang="en-US" sz="1800"/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to use a credit card or PayPal.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Enter a Connect and Sharpen access code and 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Redee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   </a:t>
            </a: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Temporary Access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Access Now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for two-week temporary access. Note this unlocks Connect only and does not include Sharpen.  </a:t>
            </a:r>
          </a:p>
        </p:txBody>
      </p:sp>
      <p:grpSp>
        <p:nvGrpSpPr>
          <p:cNvPr id="12" name="Group 11" descr="Screenshot of the Connect Course Access page showing 3 registration options:&#10;Purchase online.&#10;Enter Access Code.&#10;Temporary Access.">
            <a:extLst>
              <a:ext uri="{FF2B5EF4-FFF2-40B4-BE49-F238E27FC236}">
                <a16:creationId xmlns:a16="http://schemas.microsoft.com/office/drawing/2014/main" id="{1168D081-09D7-F724-1C98-FC17ACB7FD1C}"/>
              </a:ext>
            </a:extLst>
          </p:cNvPr>
          <p:cNvGrpSpPr/>
          <p:nvPr/>
        </p:nvGrpSpPr>
        <p:grpSpPr>
          <a:xfrm>
            <a:off x="266591" y="1243853"/>
            <a:ext cx="5730908" cy="4381500"/>
            <a:chOff x="266591" y="1243853"/>
            <a:chExt cx="5730908" cy="4381500"/>
          </a:xfrm>
        </p:grpSpPr>
        <p:pic>
          <p:nvPicPr>
            <p:cNvPr id="8" name="Picture 7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B871FBE2-2401-795B-02A6-46AABA68E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6591" y="1243853"/>
              <a:ext cx="5730908" cy="4381500"/>
            </a:xfrm>
            <a:prstGeom prst="rect">
              <a:avLst/>
            </a:prstGeom>
          </p:spPr>
        </p:pic>
        <p:pic>
          <p:nvPicPr>
            <p:cNvPr id="10" name="Picture 9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EBB351D0-8BB5-31C8-B043-80EB52470F4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3617" t="60199" r="67998" b="3881"/>
            <a:stretch/>
          </p:blipFill>
          <p:spPr>
            <a:xfrm>
              <a:off x="318433" y="3710365"/>
              <a:ext cx="1762651" cy="16923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3145961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71C6CB-93E8-C240-8622-5BD07830DC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98252D-341C-8F52-B56C-EE73228346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72B7D3A8-1DE7-F88C-77E2-87ACD41437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A230788B-9B48-CD36-AA01-578843BE285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E51313D-A347-6181-41B5-5B3A6BDB4E8F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852666" cy="196963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200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to use a credit card or PayPal. Enter your payment information and click "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Place Order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". A purchase confirmation page will load.</a:t>
            </a:r>
            <a:endParaRPr lang="en-US" sz="1800">
              <a:latin typeface="Arial"/>
              <a:cs typeface="Arial"/>
            </a:endParaRPr>
          </a:p>
          <a:p>
            <a:pPr marL="342900" indent="-342900">
              <a:buAutoNum type="alphaUcPeriod"/>
            </a:pP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completed your Connect and Sharpen Companion purchase.</a:t>
            </a: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  <a:buAutoNum type="alphaU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8" name="Picture 17" descr="Screenshot of Secure Checkout page.">
            <a:extLst>
              <a:ext uri="{FF2B5EF4-FFF2-40B4-BE49-F238E27FC236}">
                <a16:creationId xmlns:a16="http://schemas.microsoft.com/office/drawing/2014/main" id="{94107FBE-DFDD-BD07-8E36-27401C2807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583" y="1112763"/>
            <a:ext cx="3788833" cy="2769812"/>
          </a:xfrm>
          <a:prstGeom prst="rect">
            <a:avLst/>
          </a:prstGeom>
        </p:spPr>
      </p:pic>
      <p:pic>
        <p:nvPicPr>
          <p:cNvPr id="10" name="Picture 9" descr="Screenshot of Post-purchase confirmation page.">
            <a:extLst>
              <a:ext uri="{FF2B5EF4-FFF2-40B4-BE49-F238E27FC236}">
                <a16:creationId xmlns:a16="http://schemas.microsoft.com/office/drawing/2014/main" id="{72F929F1-C787-AE9F-0654-0293AF421A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0496" y="3988937"/>
            <a:ext cx="4613124" cy="2759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8187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3698E7-3C26-FFBA-F4E8-9C5A907CC8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DCCE76-84E7-6D68-4B57-480504885A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82C3724-DB4D-52D6-34E1-4354DBF2F0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6E4CFAC-F191-2636-ED45-01171EB50BF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75C7413-05F3-3D6C-73B4-BFDEF2000C0C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752881" cy="338477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Access Code Confirmation Screen appears.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Digital access confirmation screen appears. On the next screen,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/>
          </a:p>
          <a:p>
            <a:pPr>
              <a:spcAft>
                <a:spcPts val="900"/>
              </a:spcAft>
              <a:buAutoNum type="arabi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2" name="Picture 11" descr="Screenshot of Access code confirmation page.">
            <a:extLst>
              <a:ext uri="{FF2B5EF4-FFF2-40B4-BE49-F238E27FC236}">
                <a16:creationId xmlns:a16="http://schemas.microsoft.com/office/drawing/2014/main" id="{14C3FDB4-CBF3-F24A-8CA6-DEB14D49B8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0098" y="1222281"/>
            <a:ext cx="5220261" cy="2418791"/>
          </a:xfrm>
          <a:prstGeom prst="rect">
            <a:avLst/>
          </a:prstGeom>
        </p:spPr>
      </p:pic>
      <p:pic>
        <p:nvPicPr>
          <p:cNvPr id="15" name="Picture 14" descr="Screenshot of Digital Access page in Temporary Access flow.">
            <a:extLst>
              <a:ext uri="{FF2B5EF4-FFF2-40B4-BE49-F238E27FC236}">
                <a16:creationId xmlns:a16="http://schemas.microsoft.com/office/drawing/2014/main" id="{AA038CC4-B56D-C87C-A39C-BD7CEBBE20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04849" y="3936018"/>
            <a:ext cx="5114018" cy="2626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0716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5900D9-9126-D74F-2045-E9488BD5F2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E9A034-5C6C-5168-C401-FD7C34D843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757F30D-7549-9A77-90BE-88184F6196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13C4ED6-5864-9511-EE38-9D2E71D6A95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5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F768B0B-40D7-99D3-04C5-287082279B9D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7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7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On the purchase confirmation page, 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Complete Registration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. </a:t>
            </a: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C61E8A-6CFF-3DC2-D299-7CA80DD0C2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154" y="1119911"/>
            <a:ext cx="5709095" cy="3400960"/>
          </a:xfrm>
          <a:prstGeom prst="rect">
            <a:avLst/>
          </a:prstGeom>
        </p:spPr>
      </p:pic>
      <p:pic>
        <p:nvPicPr>
          <p:cNvPr id="9" name="Picture 8" descr="Screenshot of post-purchase confirmation page highlighting the &quot;Complete Registration&quot; button.">
            <a:extLst>
              <a:ext uri="{FF2B5EF4-FFF2-40B4-BE49-F238E27FC236}">
                <a16:creationId xmlns:a16="http://schemas.microsoft.com/office/drawing/2014/main" id="{8A26DCBB-5A95-EBD8-EF83-6562DB99E7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006" y="1122074"/>
            <a:ext cx="5725885" cy="3521982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87DDB94-7646-B04B-A9CA-14B1430ECF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16922" y="4092906"/>
            <a:ext cx="1624329" cy="428481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05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C0893F-D53C-B732-95E9-8F1B54EA1C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7BE609F-265B-6ECA-7C73-83EB43CFBD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408F0C6-920D-FFAF-32E6-F5AC6116C4E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5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5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E6BDACE-3C95-DBBB-5431-9DD0077E9F93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 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Click </a:t>
            </a:r>
            <a:r>
              <a:rPr lang="en-US" sz="1800" b="1">
                <a:solidFill>
                  <a:srgbClr val="333333"/>
                </a:solidFill>
                <a:latin typeface="Arial"/>
                <a:cs typeface="Arial"/>
              </a:rPr>
              <a:t>Complete Registration</a:t>
            </a:r>
            <a:r>
              <a:rPr lang="en-US" sz="1800" b="1" i="1">
                <a:solidFill>
                  <a:srgbClr val="333333"/>
                </a:solidFill>
                <a:latin typeface="Arial"/>
                <a:cs typeface="Arial"/>
              </a:rPr>
              <a:t>. </a:t>
            </a:r>
            <a:endParaRPr lang="en-US" sz="1800">
              <a:latin typeface="Arial"/>
              <a:cs typeface="Arial"/>
            </a:endParaRPr>
          </a:p>
          <a:p>
            <a:pPr>
              <a:buNone/>
            </a:pPr>
            <a:endParaRPr lang="en-US" sz="1800" b="1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buNone/>
            </a:pP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gratulations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! You have </a:t>
            </a:r>
            <a:r>
              <a:rPr lang="en-US" sz="1800">
                <a:latin typeface="Arial"/>
                <a:cs typeface="Arial"/>
              </a:rPr>
              <a:t>successfully joined your course.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sz="1800">
                <a:latin typeface="Arial"/>
                <a:cs typeface="Arial"/>
              </a:rPr>
              <a:t>Click </a:t>
            </a:r>
            <a:r>
              <a:rPr lang="en-US" sz="1800" b="1">
                <a:latin typeface="Arial"/>
                <a:cs typeface="Arial"/>
              </a:rPr>
              <a:t>Complete Registration</a:t>
            </a:r>
            <a:r>
              <a:rPr lang="en-US" sz="1800" b="1" i="1">
                <a:latin typeface="Arial"/>
                <a:cs typeface="Arial"/>
              </a:rPr>
              <a:t>. 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>
              <a:buNone/>
            </a:pP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gratulations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! You have 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successfully joined your course.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buNone/>
            </a:pPr>
            <a:endParaRPr lang="en-US" sz="1800">
              <a:solidFill>
                <a:srgbClr val="333333"/>
              </a:solidFill>
            </a:endParaRPr>
          </a:p>
          <a:p>
            <a:pPr>
              <a:buNone/>
            </a:pPr>
            <a:r>
              <a:rPr lang="en-US" sz="1800" b="1">
                <a:solidFill>
                  <a:srgbClr val="333333"/>
                </a:solidFill>
                <a:latin typeface="Arial"/>
                <a:cs typeface="Arial"/>
              </a:rPr>
              <a:t>Reminder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: if you used Temporary Access, this applies only to Connect and not Sharpen. 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buNone/>
            </a:pP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>
              <a:buNone/>
            </a:pPr>
            <a:endParaRPr lang="en-US" sz="1800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0" name="Picture 9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01DF7ACD-70DA-C476-96D5-5029D6AF48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4435" y="1195667"/>
            <a:ext cx="5126131" cy="2415989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1FA91E3-553C-B52C-050C-F98F7DBE53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18185" y="2063219"/>
            <a:ext cx="1893093" cy="634101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287F7C4F-BA38-1491-F79E-6BA0233DC2B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69118" y="3989615"/>
            <a:ext cx="5129289" cy="2446868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82CD995-0289-B4EA-9FA6-A71E0C3ED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505604" y="4535903"/>
            <a:ext cx="1893093" cy="851814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4466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857C5A-6271-C015-21F2-7E92B6449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980239-1549-A498-3503-BB0E8CA722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A6F0AF96-6958-4CA4-3388-BCDDE9FBDE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A4EDCB9-9BA4-2E38-E76F-AF1E587A129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6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14E1354-F990-AE64-A820-7DCA8476E92E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When your two-week Temporary Access Expires, you will be directed to the Course Access Page to redeem the Connect and Sharpen Companion access code or purchase Connect and Sharpen Companion.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  <a:hlinkClick r:id="rId4"/>
              </a:rPr>
              <a:t>You can view more information and instructions here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9" name="Picture 8" descr="Course Access page screenshot showing the Access Code and Purchase flows a user will see after using their Temporary Access.">
            <a:extLst>
              <a:ext uri="{FF2B5EF4-FFF2-40B4-BE49-F238E27FC236}">
                <a16:creationId xmlns:a16="http://schemas.microsoft.com/office/drawing/2014/main" id="{688E7C31-55B7-FBA0-B039-3264B9E1E0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5632" y="2036948"/>
            <a:ext cx="4424246" cy="3151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872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C60438-69CE-BD29-4699-D760DC6610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4E09A5-CEAC-83FF-84D5-C6F5A92A54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BE2F9FD5-C784-E47B-FE67-34F887C5AA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F3AB2894-FFA7-0503-6F36-777E9D9DF511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435426-4615-9426-E71A-4981BBF366F4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E0CDB4-6892-4FB2-CC36-4A586E02D0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51"/>
          <a:stretch/>
        </p:blipFill>
        <p:spPr>
          <a:xfrm>
            <a:off x="3884263" y="2307272"/>
            <a:ext cx="4832074" cy="455072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B01D32-6625-8FC0-E755-F10872AE7A0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IA and IA Registration: Connect without a Learning Management System (LMS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B06C7DD5-892C-9D9A-B2F7-3582BAB7A49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50678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199B91-B8EC-BCF1-C7A8-CDB4C9E67C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37C727-516E-EEC5-C5EA-F20AEEB58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56C361D-BCC4-0002-FCAD-4189AE8949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01A60F5-BF7E-3A90-69CF-D45B0233F01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70951" y="943790"/>
            <a:ext cx="5047748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Part 1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DF8E5A8-41C9-A757-17E5-C66578B6CC10}"/>
              </a:ext>
            </a:extLst>
          </p:cNvPr>
          <p:cNvSpPr txBox="1">
            <a:spLocks/>
          </p:cNvSpPr>
          <p:nvPr/>
        </p:nvSpPr>
        <p:spPr>
          <a:xfrm>
            <a:off x="6970951" y="1774787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>
                <a:solidFill>
                  <a:srgbClr val="000000"/>
                </a:solidFill>
                <a:latin typeface="Arial"/>
                <a:cs typeface="Arial"/>
              </a:rPr>
              <a:t>Sharpen Assignment</a:t>
            </a: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: Connect includes two Sharpen launch points. The first one is listed under Assignments. </a:t>
            </a:r>
            <a:endParaRPr lang="en-US" dirty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Click on the Sharpen assignment to open a new page with the Sharpen access point. Click </a:t>
            </a:r>
            <a:r>
              <a:rPr lang="en-US" sz="1800" b="1" dirty="0">
                <a:solidFill>
                  <a:srgbClr val="000000"/>
                </a:solidFill>
                <a:latin typeface="Arial"/>
                <a:cs typeface="Arial"/>
              </a:rPr>
              <a:t>Begin </a:t>
            </a: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to launch Sharpen in a new web window.</a:t>
            </a:r>
            <a:endParaRPr lang="en-US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dirty="0">
              <a:latin typeface="Arial"/>
              <a:cs typeface="Arial"/>
            </a:endParaRPr>
          </a:p>
        </p:txBody>
      </p:sp>
      <p:pic>
        <p:nvPicPr>
          <p:cNvPr id="7" name="Picture 6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DC86DF4E-2F23-1542-04A5-97BE23CCED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4714" y="873992"/>
            <a:ext cx="5551714" cy="264258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88DDB6F-A896-1B16-A11C-D3D09322CE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95845" y="1932130"/>
            <a:ext cx="1082139" cy="265711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6" name="Picture 15" descr="Screenshot of Begin button to launch Sharpen. Yellow rectangle highlights the Begin button.">
            <a:extLst>
              <a:ext uri="{FF2B5EF4-FFF2-40B4-BE49-F238E27FC236}">
                <a16:creationId xmlns:a16="http://schemas.microsoft.com/office/drawing/2014/main" id="{214A9A1E-DA36-ADA1-5CF4-962CB61FD8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0808" y="3600533"/>
            <a:ext cx="3279340" cy="3009241"/>
          </a:xfrm>
          <a:prstGeom prst="rect">
            <a:avLst/>
          </a:prstGeom>
        </p:spPr>
      </p:pic>
      <p:pic>
        <p:nvPicPr>
          <p:cNvPr id="14" name="Picture 13" descr="Sharpen web app that opens after students open Sharpen from Connect.">
            <a:extLst>
              <a:ext uri="{FF2B5EF4-FFF2-40B4-BE49-F238E27FC236}">
                <a16:creationId xmlns:a16="http://schemas.microsoft.com/office/drawing/2014/main" id="{03D37F77-7E4E-85B8-4E14-9BDD3E6AF2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766D91C-3507-6D0A-C7EB-60CF0F4FA2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4837" y="4549406"/>
            <a:ext cx="1460531" cy="429410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34039012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609F08-50AC-8624-C5A6-AC46982EE8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A4C4B8-18F5-EE48-D08A-7F77C4228D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DE61D86-8E1B-A269-7864-09C7343966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DA68AB6-AF16-8121-DCDF-8901D4053FC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70951" y="943790"/>
            <a:ext cx="5215982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Part 2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7F44F05-0CD8-8DED-2D2D-8E09B5AE6625}"/>
              </a:ext>
            </a:extLst>
          </p:cNvPr>
          <p:cNvSpPr txBox="1">
            <a:spLocks/>
          </p:cNvSpPr>
          <p:nvPr/>
        </p:nvSpPr>
        <p:spPr>
          <a:xfrm>
            <a:off x="6970951" y="1774787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>
                <a:solidFill>
                  <a:srgbClr val="000000"/>
                </a:solidFill>
                <a:latin typeface="Arial"/>
                <a:cs typeface="Arial"/>
              </a:rPr>
              <a:t>Sharpen widget</a:t>
            </a: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: The second launch point is on the bottom left-hand navigation section. </a:t>
            </a:r>
            <a:endParaRPr lang="en-US" dirty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Click on the Sharpen widget in the left-side navigation to launch the Sharpen app in a new window.</a:t>
            </a:r>
            <a:endParaRPr lang="en-US" dirty="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 dirty="0">
              <a:latin typeface="Arial"/>
              <a:cs typeface="Arial"/>
            </a:endParaRPr>
          </a:p>
        </p:txBody>
      </p:sp>
      <p:pic>
        <p:nvPicPr>
          <p:cNvPr id="7" name="Picture 6" descr="Screenshot of Sharpen launch points on the Connect page. Yellow rectangle highlights the launch point.">
            <a:extLst>
              <a:ext uri="{FF2B5EF4-FFF2-40B4-BE49-F238E27FC236}">
                <a16:creationId xmlns:a16="http://schemas.microsoft.com/office/drawing/2014/main" id="{ABD3A5AA-BFB0-178B-AE16-3E124715BE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9357" y="1264064"/>
            <a:ext cx="5669643" cy="276958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A354B72-94AE-4128-5669-F566C13E95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8943" y="3130384"/>
            <a:ext cx="1299853" cy="503217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6" name="Picture 5" descr="Sharpen web app that opens after students open Sharpen from Connect.">
            <a:extLst>
              <a:ext uri="{FF2B5EF4-FFF2-40B4-BE49-F238E27FC236}">
                <a16:creationId xmlns:a16="http://schemas.microsoft.com/office/drawing/2014/main" id="{C77DB60D-A0BC-3093-67A0-4CD7CE5790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68572" y="4654036"/>
            <a:ext cx="5950857" cy="1450642"/>
          </a:xfrm>
          <a:prstGeom prst="rect">
            <a:avLst/>
          </a:prstGeom>
        </p:spPr>
      </p:pic>
      <p:pic>
        <p:nvPicPr>
          <p:cNvPr id="9" name="Picture 8" descr="Screenshot of Sharpen launch point in Connect.">
            <a:extLst>
              <a:ext uri="{FF2B5EF4-FFF2-40B4-BE49-F238E27FC236}">
                <a16:creationId xmlns:a16="http://schemas.microsoft.com/office/drawing/2014/main" id="{E905A5CC-FCC5-B648-0E25-421D62E9C8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2791" y="4831896"/>
            <a:ext cx="4422776" cy="1457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8143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57734" y="2318515"/>
            <a:ext cx="2731443" cy="2731443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38100" dir="2700000" algn="tl" rotWithShape="0">
              <a:prstClr val="black">
                <a:alpha val="4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!</a:t>
            </a:r>
          </a:p>
        </p:txBody>
      </p:sp>
      <p:sp>
        <p:nvSpPr>
          <p:cNvPr id="5" name="Diamond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380681" y="2352971"/>
            <a:ext cx="243749" cy="243749"/>
          </a:xfrm>
          <a:prstGeom prst="diamond">
            <a:avLst/>
          </a:prstGeom>
          <a:solidFill>
            <a:srgbClr val="CC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Diamond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593459" y="5641705"/>
            <a:ext cx="243749" cy="243749"/>
          </a:xfrm>
          <a:prstGeom prst="diamond">
            <a:avLst/>
          </a:prstGeom>
          <a:solidFill>
            <a:srgbClr val="E3BAF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Diamond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99540" y="4623555"/>
            <a:ext cx="243749" cy="243749"/>
          </a:xfrm>
          <a:prstGeom prst="diamond">
            <a:avLst/>
          </a:prstGeom>
          <a:solidFill>
            <a:srgbClr val="7030A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Diamond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774688" y="3444413"/>
            <a:ext cx="243749" cy="243749"/>
          </a:xfrm>
          <a:prstGeom prst="diamond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3" name="Straight Connecto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90291" y="3561134"/>
            <a:ext cx="141485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02912" y="4752523"/>
            <a:ext cx="149415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948047" y="5770672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63964" y="3124116"/>
            <a:ext cx="926088" cy="926088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Oval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47004" y="4336522"/>
            <a:ext cx="926088" cy="926088"/>
          </a:xfrm>
          <a:prstGeom prst="ellipse">
            <a:avLst/>
          </a:prstGeom>
          <a:solidFill>
            <a:srgbClr val="7030A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Oval 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49987" y="5387649"/>
            <a:ext cx="926088" cy="926088"/>
          </a:xfrm>
          <a:prstGeom prst="ellipse">
            <a:avLst/>
          </a:prstGeom>
          <a:solidFill>
            <a:srgbClr val="E3BAFE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22" name="Straight Connector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721415" y="2462964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247343" y="1972092"/>
            <a:ext cx="926088" cy="926088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A1F7072A-CFCF-833C-0C76-8305D4EA97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035795" y="1448962"/>
            <a:ext cx="243749" cy="243749"/>
          </a:xfrm>
          <a:prstGeom prst="diamond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6061442-C886-DFB1-AC08-A0DF6B95D9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955397" y="946388"/>
            <a:ext cx="926088" cy="926088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E1C89F4-1B61-7055-85B8-9DA1D5B8C6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390383" y="1577929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6C46B8-D4FE-0D7C-6202-530A521276C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6667" y="6129970"/>
            <a:ext cx="11669636" cy="603634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None/>
            </a:pPr>
            <a:r>
              <a:rPr lang="en-US" sz="1400" b="0" dirty="0">
                <a:latin typeface="Arial"/>
                <a:cs typeface="Arial"/>
              </a:rPr>
              <a:t>*  </a:t>
            </a:r>
            <a:r>
              <a:rPr lang="en-US" sz="1400" b="0" i="1" dirty="0" err="1">
                <a:latin typeface="Arial"/>
                <a:cs typeface="Arial"/>
              </a:rPr>
              <a:t>ReadAnywhere</a:t>
            </a:r>
            <a:r>
              <a:rPr lang="en-US" sz="1400" b="0" i="1" dirty="0">
                <a:latin typeface="Arial"/>
                <a:cs typeface="Arial"/>
              </a:rPr>
              <a:t> supports newer eBooks and </a:t>
            </a:r>
            <a:r>
              <a:rPr lang="en-US" sz="1400" b="0" i="1" dirty="0" err="1">
                <a:latin typeface="Arial"/>
                <a:cs typeface="Arial"/>
              </a:rPr>
              <a:t>SmartBook</a:t>
            </a:r>
            <a:r>
              <a:rPr lang="en-US" sz="1400" b="0" i="1" dirty="0">
                <a:latin typeface="Arial"/>
                <a:cs typeface="Arial"/>
              </a:rPr>
              <a:t> - may not be available in your Connect course. Sharpen available in most courses.</a:t>
            </a:r>
            <a:endParaRPr lang="en-US" b="0" dirty="0">
              <a:latin typeface="Arial"/>
              <a:cs typeface="Arial"/>
            </a:endParaRPr>
          </a:p>
          <a:p>
            <a:endParaRPr lang="en-US" dirty="0"/>
          </a:p>
        </p:txBody>
      </p:sp>
      <p:grpSp>
        <p:nvGrpSpPr>
          <p:cNvPr id="79" name="Group 78" descr="Get support when needed. Connect support is available 24/7 via chat or phone. Please reach out to them with any issues. They are there to help!">
            <a:extLst>
              <a:ext uri="{FF2B5EF4-FFF2-40B4-BE49-F238E27FC236}">
                <a16:creationId xmlns:a16="http://schemas.microsoft.com/office/drawing/2014/main" id="{60F9DCB8-D144-8DCD-73CA-2DAD61EB592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662552" y="5513314"/>
            <a:ext cx="4618053" cy="773924"/>
            <a:chOff x="6712960" y="1530785"/>
            <a:chExt cx="2405788" cy="77392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E96D5CC-7B0E-74D7-25A4-2F887F0BDF2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Connect support is available 24/7 via chat or phone. Please reach out to them with any issues. They are there to help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B1E9868A-AD10-6242-D3FC-B97221004FE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Get Support When Needed</a:t>
              </a:r>
            </a:p>
          </p:txBody>
        </p:sp>
      </p:grpSp>
      <p:pic>
        <p:nvPicPr>
          <p:cNvPr id="93" name="Graphic 92" descr="Lightbulb and gear outline">
            <a:extLst>
              <a:ext uri="{FF2B5EF4-FFF2-40B4-BE49-F238E27FC236}">
                <a16:creationId xmlns:a16="http://schemas.microsoft.com/office/drawing/2014/main" id="{F3D0A7AB-A13F-8A04-6C2D-858BF15858D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761395" y="5473817"/>
            <a:ext cx="743764" cy="743764"/>
          </a:xfrm>
          <a:prstGeom prst="rect">
            <a:avLst/>
          </a:prstGeom>
        </p:spPr>
      </p:pic>
      <p:grpSp>
        <p:nvGrpSpPr>
          <p:cNvPr id="76" name="Group 75" descr="Use your resources. Prep like a pro with exam-like quizzes, flashcards, videos, and study tools aligned with your textbook.">
            <a:extLst>
              <a:ext uri="{FF2B5EF4-FFF2-40B4-BE49-F238E27FC236}">
                <a16:creationId xmlns:a16="http://schemas.microsoft.com/office/drawing/2014/main" id="{687B8526-DD28-8E16-6017-8FA65D22A31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44583" y="4379592"/>
            <a:ext cx="3809806" cy="989368"/>
            <a:chOff x="6712960" y="1530785"/>
            <a:chExt cx="2405788" cy="989368"/>
          </a:xfrm>
        </p:grpSpPr>
        <p:sp>
          <p:nvSpPr>
            <p:cNvPr id="77" name="Rectangle 76" descr="Use your resources. Prep like a pro with exam-like quizzes, flashcards, videos, and study tools aligned with your textbook.">
              <a:extLst>
                <a:ext uri="{FF2B5EF4-FFF2-40B4-BE49-F238E27FC236}">
                  <a16:creationId xmlns:a16="http://schemas.microsoft.com/office/drawing/2014/main" id="{05C7FFA6-1DA2-B6B4-9AD8-3C8AC852CF1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Prep like a pro with exam-like quizzes, flashcards, videos, and study tools aligned with your textbook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92BC0027-A31C-0F53-9CD8-B4A579D412E7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Use Your Resources</a:t>
              </a:r>
            </a:p>
          </p:txBody>
        </p:sp>
      </p:grpSp>
      <p:pic>
        <p:nvPicPr>
          <p:cNvPr id="91" name="Graphic 90" descr="Connections outline">
            <a:extLst>
              <a:ext uri="{FF2B5EF4-FFF2-40B4-BE49-F238E27FC236}">
                <a16:creationId xmlns:a16="http://schemas.microsoft.com/office/drawing/2014/main" id="{EDB9C382-3EB5-128A-D3CC-DC717CB757D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820544" y="4502111"/>
            <a:ext cx="594910" cy="594910"/>
          </a:xfrm>
          <a:prstGeom prst="rect">
            <a:avLst/>
          </a:prstGeom>
        </p:spPr>
      </p:pic>
      <p:grpSp>
        <p:nvGrpSpPr>
          <p:cNvPr id="73" name="Group 72" descr="Know what to study. Recharge in SmartBook provides you with personalized studying of concepts you’ve learned. Built with the power of learning science, you’ll know just what to study!">
            <a:extLst>
              <a:ext uri="{FF2B5EF4-FFF2-40B4-BE49-F238E27FC236}">
                <a16:creationId xmlns:a16="http://schemas.microsoft.com/office/drawing/2014/main" id="{9F2F35AE-15BE-5686-2687-37F31526F887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61721" y="3048290"/>
            <a:ext cx="4378036" cy="1204811"/>
            <a:chOff x="6712960" y="1530785"/>
            <a:chExt cx="2405788" cy="1204811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E755CA58-09D0-6D28-5F50-71D1A433A89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Recharge in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provides you with personalized studying of concepts you’ve learned. Built with the power of learning science, you’ll know just what to study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1E45B606-2B6C-7FAC-8328-9A5B7B3BB8E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Know What to Study</a:t>
              </a:r>
            </a:p>
          </p:txBody>
        </p:sp>
      </p:grpSp>
      <p:pic>
        <p:nvPicPr>
          <p:cNvPr id="83" name="Graphic 82" descr="Chat bubble outline">
            <a:extLst>
              <a:ext uri="{FF2B5EF4-FFF2-40B4-BE49-F238E27FC236}">
                <a16:creationId xmlns:a16="http://schemas.microsoft.com/office/drawing/2014/main" id="{3EC52EBC-83C9-D758-D8EE-B47ED5A348A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35633" y="3187590"/>
            <a:ext cx="823222" cy="823222"/>
          </a:xfrm>
          <a:prstGeom prst="rect">
            <a:avLst/>
          </a:prstGeom>
        </p:spPr>
      </p:pic>
      <p:grpSp>
        <p:nvGrpSpPr>
          <p:cNvPr id="21" name="Group 20" descr="Focus. View the Reports in Connect to understand key concepts from the content.">
            <a:extLst>
              <a:ext uri="{FF2B5EF4-FFF2-40B4-BE49-F238E27FC236}">
                <a16:creationId xmlns:a16="http://schemas.microsoft.com/office/drawing/2014/main" id="{C57DD816-45BD-248D-0E3C-C675FE6A5F80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407768" y="1988182"/>
            <a:ext cx="3809806" cy="773924"/>
            <a:chOff x="6712960" y="1530785"/>
            <a:chExt cx="2405788" cy="77392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FFB3366-15D0-6D31-51F7-89C54E46048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View the Reports in Connect to understand key concepts from the content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DC8AC9A0-5315-5051-B9C0-4C65E9CEA8E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Focus!</a:t>
              </a:r>
            </a:p>
          </p:txBody>
        </p:sp>
      </p:grpSp>
      <p:pic>
        <p:nvPicPr>
          <p:cNvPr id="89" name="Graphic 88" descr="Ui Ux outline">
            <a:extLst>
              <a:ext uri="{FF2B5EF4-FFF2-40B4-BE49-F238E27FC236}">
                <a16:creationId xmlns:a16="http://schemas.microsoft.com/office/drawing/2014/main" id="{0080D1CD-4548-941A-1441-8EA4FDB99A6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84281" y="2085798"/>
            <a:ext cx="646197" cy="646197"/>
          </a:xfrm>
          <a:prstGeom prst="rect">
            <a:avLst/>
          </a:prstGeom>
        </p:spPr>
      </p:pic>
      <p:grpSp>
        <p:nvGrpSpPr>
          <p:cNvPr id="34" name="Group 33" descr="Learn On-the-Go. Download the free ReadAnywhere app to take your eBook and SmartBook with you—online and offline."/>
          <p:cNvGrpSpPr>
            <a:grpSpLocks noGrp="1" noUngrp="1" noRot="1" noMove="1" noResize="1"/>
          </p:cNvGrpSpPr>
          <p:nvPr/>
        </p:nvGrpSpPr>
        <p:grpSpPr>
          <a:xfrm>
            <a:off x="5979102" y="904473"/>
            <a:ext cx="5958898" cy="815133"/>
            <a:chOff x="6712960" y="1530785"/>
            <a:chExt cx="2405788" cy="815133"/>
          </a:xfrm>
        </p:grpSpPr>
        <p:sp>
          <p:nvSpPr>
            <p:cNvPr id="32" name="Rectangle 31"/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822698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Download the free </a:t>
              </a:r>
              <a:r>
                <a:rPr lang="en-US" sz="1400" dirty="0" err="1">
                  <a:latin typeface="Calibri"/>
                  <a:cs typeface="Calibri"/>
                </a:rPr>
                <a:t>ReadAnywhere</a:t>
              </a:r>
              <a:r>
                <a:rPr lang="en-US" sz="1400" dirty="0">
                  <a:latin typeface="Calibri"/>
                  <a:cs typeface="Calibri"/>
                </a:rPr>
                <a:t> app to take your eBook and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with you—online</a:t>
              </a:r>
              <a:r>
                <a:rPr lang="en-US" sz="1400" i="1" dirty="0">
                  <a:latin typeface="Calibri"/>
                  <a:cs typeface="Calibri"/>
                </a:rPr>
                <a:t> and </a:t>
              </a:r>
              <a:r>
                <a:rPr lang="en-US" sz="1400" dirty="0">
                  <a:latin typeface="Calibri"/>
                  <a:cs typeface="Calibri"/>
                </a:rPr>
                <a:t>offline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TextBox 32"/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Learn On-the-Go</a:t>
              </a:r>
            </a:p>
          </p:txBody>
        </p:sp>
      </p:grpSp>
      <p:pic>
        <p:nvPicPr>
          <p:cNvPr id="87" name="Graphic 86" descr="Smiling face outline outline">
            <a:extLst>
              <a:ext uri="{FF2B5EF4-FFF2-40B4-BE49-F238E27FC236}">
                <a16:creationId xmlns:a16="http://schemas.microsoft.com/office/drawing/2014/main" id="{75B10BC4-02A1-3C20-4F37-4D8CED478A9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53679" y="1027309"/>
            <a:ext cx="732442" cy="732442"/>
          </a:xfrm>
          <a:prstGeom prst="rect">
            <a:avLst/>
          </a:prstGeom>
        </p:spPr>
      </p:pic>
      <p:sp>
        <p:nvSpPr>
          <p:cNvPr id="4" name="Arc 3" descr="Make the most of connect to gain success!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7259" y="1612212"/>
            <a:ext cx="4378036" cy="4378034"/>
          </a:xfrm>
          <a:prstGeom prst="arc">
            <a:avLst>
              <a:gd name="adj1" fmla="val 16200000"/>
              <a:gd name="adj2" fmla="val 5361653"/>
            </a:avLst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 descr="McGraw Hill Connect Logo">
            <a:extLst>
              <a:ext uri="{FF2B5EF4-FFF2-40B4-BE49-F238E27FC236}">
                <a16:creationId xmlns:a16="http://schemas.microsoft.com/office/drawing/2014/main" id="{DE7325CA-533B-03D5-50AF-AC408B2AF38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523633" y="256749"/>
            <a:ext cx="2341460" cy="550591"/>
          </a:xfrm>
          <a:prstGeom prst="rect">
            <a:avLst/>
          </a:prstGeom>
        </p:spPr>
      </p:pic>
      <p:sp>
        <p:nvSpPr>
          <p:cNvPr id="2" name="Title 1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672494" y="-147031"/>
            <a:ext cx="10515600" cy="1325563"/>
          </a:xfrm>
        </p:spPr>
        <p:txBody>
          <a:bodyPr>
            <a:normAutofit/>
          </a:bodyPr>
          <a:lstStyle/>
          <a:p>
            <a:r>
              <a:rPr lang="en-IN" sz="3600" b="1" dirty="0">
                <a:solidFill>
                  <a:srgbClr val="002060"/>
                </a:solidFill>
              </a:rPr>
              <a:t>Make the Most of Connect!</a:t>
            </a:r>
          </a:p>
        </p:txBody>
      </p:sp>
    </p:spTree>
    <p:extLst>
      <p:ext uri="{BB962C8B-B14F-4D97-AF65-F5344CB8AC3E}">
        <p14:creationId xmlns:p14="http://schemas.microsoft.com/office/powerpoint/2010/main" val="3207652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rial"/>
                <a:cs typeface="Arial"/>
              </a:rPr>
              <a:t>Getting Started with McGraw Hill Connect</a:t>
            </a:r>
            <a:r>
              <a:rPr lang="en-US" baseline="30000" dirty="0">
                <a:latin typeface="Arial"/>
                <a:cs typeface="Arial"/>
              </a:rPr>
              <a:t> ®</a:t>
            </a:r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 dirty="0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 dirty="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pic>
        <p:nvPicPr>
          <p:cNvPr id="11" name="Picture 10" descr="Laptop showing the McGraw Hill Connect platform and a mobile phone showing the Sharpen study app.​">
            <a:extLst>
              <a:ext uri="{FF2B5EF4-FFF2-40B4-BE49-F238E27FC236}">
                <a16:creationId xmlns:a16="http://schemas.microsoft.com/office/drawing/2014/main" id="{6526AF70-00EB-6272-9C69-35FECD9C63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8272" y="4941165"/>
            <a:ext cx="2304184" cy="1663123"/>
          </a:xfrm>
          <a:prstGeom prst="rect">
            <a:avLst/>
          </a:prstGeom>
        </p:spPr>
      </p:pic>
      <p:pic>
        <p:nvPicPr>
          <p:cNvPr id="14" name="Picture 13" descr="Sharpen on a computer screen and a mobile phone.">
            <a:extLst>
              <a:ext uri="{FF2B5EF4-FFF2-40B4-BE49-F238E27FC236}">
                <a16:creationId xmlns:a16="http://schemas.microsoft.com/office/drawing/2014/main" id="{A296A8E8-78EB-8F12-DA69-3DB75E69C9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84D9E0-C4F1-9D66-8F9F-2C7B5B122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Connect Standalon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68D872B-537C-E0C0-FD0F-E319804D7C2A}"/>
              </a:ext>
            </a:extLst>
          </p:cNvPr>
          <p:cNvSpPr txBox="1">
            <a:spLocks/>
          </p:cNvSpPr>
          <p:nvPr/>
        </p:nvSpPr>
        <p:spPr>
          <a:xfrm>
            <a:off x="677863" y="1736725"/>
            <a:ext cx="3201987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Enter your course URL provided by your instructor. </a:t>
            </a:r>
          </a:p>
          <a:p>
            <a:pPr>
              <a:defRPr/>
            </a:pPr>
            <a:endParaRPr lang="en-US"/>
          </a:p>
          <a:p>
            <a:pPr>
              <a:defRPr/>
            </a:pPr>
            <a:r>
              <a:rPr lang="en-US"/>
              <a:t>Enter your email address and click </a:t>
            </a:r>
            <a:r>
              <a:rPr lang="en-US" b="1"/>
              <a:t>Begin</a:t>
            </a:r>
            <a:r>
              <a:rPr lang="en-US"/>
              <a:t>.</a:t>
            </a:r>
          </a:p>
          <a:p>
            <a:pPr>
              <a:defRPr/>
            </a:pPr>
            <a:endParaRPr lang="en-US"/>
          </a:p>
          <a:p>
            <a:r>
              <a:rPr lang="en-US"/>
              <a:t>If you receive the message, </a:t>
            </a:r>
            <a:r>
              <a:rPr lang="en-US" b="1"/>
              <a:t>You have a Connect Account </a:t>
            </a:r>
            <a:r>
              <a:rPr lang="en-US"/>
              <a:t> but have forgotten your password, click </a:t>
            </a:r>
            <a:r>
              <a:rPr lang="en-US" b="1"/>
              <a:t>Forgot Password</a:t>
            </a:r>
            <a:r>
              <a:rPr lang="en-US"/>
              <a:t>. </a:t>
            </a:r>
            <a:endParaRPr lang="en-US" dirty="0"/>
          </a:p>
        </p:txBody>
      </p:sp>
      <p:pic>
        <p:nvPicPr>
          <p:cNvPr id="7" name="Picture 6" descr="Screenshot of the Welcome page of your instructors connect Course">
            <a:extLst>
              <a:ext uri="{FF2B5EF4-FFF2-40B4-BE49-F238E27FC236}">
                <a16:creationId xmlns:a16="http://schemas.microsoft.com/office/drawing/2014/main" id="{7067EC0C-113C-0F4D-0F52-E84FA0C9F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5409" y="1627909"/>
            <a:ext cx="7446819" cy="3273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81779-ED6B-C1F6-67BC-417EE87BE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F012F-23DA-E89E-87E8-98AB82EE8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50D3A70F-1EBF-A191-16D1-98BC869B3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Connect Standalon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DF4846F-96D7-9150-EF4A-F7D7530053FC}"/>
              </a:ext>
            </a:extLst>
          </p:cNvPr>
          <p:cNvSpPr txBox="1">
            <a:spLocks/>
          </p:cNvSpPr>
          <p:nvPr/>
        </p:nvSpPr>
        <p:spPr>
          <a:xfrm>
            <a:off x="559329" y="1719793"/>
            <a:ext cx="3201987" cy="439049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/>
              <a:t>Create your account:  Enter email, First and Last Name, create a password and select a security questions. </a:t>
            </a:r>
          </a:p>
          <a:p>
            <a:pPr>
              <a:spcAft>
                <a:spcPts val="900"/>
              </a:spcAft>
            </a:pPr>
            <a:r>
              <a:rPr lang="en-US"/>
              <a:t>We recommend using your school email address when creating an account. </a:t>
            </a:r>
          </a:p>
          <a:p>
            <a:r>
              <a:rPr lang="en-US"/>
              <a:t>To receive text alerts, enter your mobile number.  Agree to the Terms and Conditions and then click </a:t>
            </a:r>
            <a:r>
              <a:rPr lang="en-US" b="1"/>
              <a:t>Create Account</a:t>
            </a:r>
            <a:r>
              <a:rPr lang="en-US"/>
              <a:t>.</a:t>
            </a:r>
            <a:endParaRPr lang="en-US" dirty="0"/>
          </a:p>
        </p:txBody>
      </p:sp>
      <p:pic>
        <p:nvPicPr>
          <p:cNvPr id="8" name="Picture 7" descr="Screenshot from the Create a Connect Account page">
            <a:extLst>
              <a:ext uri="{FF2B5EF4-FFF2-40B4-BE49-F238E27FC236}">
                <a16:creationId xmlns:a16="http://schemas.microsoft.com/office/drawing/2014/main" id="{E2379E81-CBF8-B50E-7983-F9FB54BD74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7380" y="1207574"/>
            <a:ext cx="4071774" cy="3931086"/>
          </a:xfrm>
          <a:prstGeom prst="rect">
            <a:avLst/>
          </a:prstGeom>
        </p:spPr>
      </p:pic>
      <p:pic>
        <p:nvPicPr>
          <p:cNvPr id="15" name="Picture 14" descr="Screenshot of the bottom half of the Create a Connect Account page">
            <a:extLst>
              <a:ext uri="{FF2B5EF4-FFF2-40B4-BE49-F238E27FC236}">
                <a16:creationId xmlns:a16="http://schemas.microsoft.com/office/drawing/2014/main" id="{4FCBFA4C-4C58-4DB5-581E-3C4FBAF655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25525" y="2294337"/>
            <a:ext cx="3720197" cy="433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06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6140C-3D9B-35D8-5A39-128A96119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3A130-29C2-E441-1428-7557D25C1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3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3C8FA09-4CE9-79DC-8740-C420E37B3B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Connect Standalo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EE4E606-79DA-173F-313C-6500021FBA46}"/>
              </a:ext>
            </a:extLst>
          </p:cNvPr>
          <p:cNvSpPr txBox="1">
            <a:spLocks/>
          </p:cNvSpPr>
          <p:nvPr/>
        </p:nvSpPr>
        <p:spPr>
          <a:xfrm>
            <a:off x="677863" y="1736725"/>
            <a:ext cx="3164728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en-US">
                <a:solidFill>
                  <a:prstClr val="black"/>
                </a:solidFill>
                <a:cs typeface="Times New Roman" panose="02020603050405020304" pitchFamily="18" charset="0"/>
              </a:rPr>
              <a:t>You have three registration options.</a:t>
            </a:r>
            <a:endParaRPr lang="en-US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defTabSz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  <a:defRPr/>
            </a:pPr>
            <a:r>
              <a:rPr lang="en-US" b="1">
                <a:solidFill>
                  <a:srgbClr val="69214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nect Code</a:t>
            </a:r>
            <a:r>
              <a:rPr lang="en-US" b="1">
                <a:solidFill>
                  <a:srgbClr val="7030A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en-US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ter a Connect access code and click</a:t>
            </a:r>
            <a:r>
              <a:rPr lang="en-US" b="1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Redeem</a:t>
            </a:r>
            <a:r>
              <a:rPr lang="en-US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defTabSz="4572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defRPr/>
            </a:pPr>
            <a:r>
              <a:rPr lang="en-US" b="1">
                <a:solidFill>
                  <a:srgbClr val="EC7700"/>
                </a:solidFill>
                <a:latin typeface="Arial"/>
                <a:ea typeface="Calibri" panose="020F0502020204030204" pitchFamily="34" charset="0"/>
                <a:cs typeface="Times New Roman"/>
              </a:rPr>
              <a:t>Purchase Online:</a:t>
            </a:r>
            <a:r>
              <a:rPr lang="en-US" b="1">
                <a:solidFill>
                  <a:srgbClr val="ED7D31"/>
                </a:solidFill>
                <a:latin typeface="Arial"/>
                <a:ea typeface="Calibri" panose="020F0502020204030204" pitchFamily="34" charset="0"/>
                <a:cs typeface="Times New Roman"/>
              </a:rPr>
              <a:t> </a:t>
            </a:r>
            <a:r>
              <a:rPr lang="en-US">
                <a:solidFill>
                  <a:prstClr val="black"/>
                </a:solidFill>
                <a:latin typeface="Arial"/>
                <a:ea typeface="Calibri" panose="020F0502020204030204" pitchFamily="34" charset="0"/>
                <a:cs typeface="Times New Roman"/>
              </a:rPr>
              <a:t>Click </a:t>
            </a:r>
            <a:r>
              <a:rPr lang="en-US" b="1">
                <a:solidFill>
                  <a:prstClr val="black"/>
                </a:solidFill>
                <a:latin typeface="Arial"/>
                <a:ea typeface="Calibri" panose="020F0502020204030204" pitchFamily="34" charset="0"/>
                <a:cs typeface="Times New Roman"/>
              </a:rPr>
              <a:t>Purchase </a:t>
            </a:r>
            <a:r>
              <a:rPr lang="en-US">
                <a:solidFill>
                  <a:prstClr val="black"/>
                </a:solidFill>
                <a:latin typeface="Arial"/>
                <a:ea typeface="Calibri" panose="020F0502020204030204" pitchFamily="34" charset="0"/>
                <a:cs typeface="Times New Roman"/>
              </a:rPr>
              <a:t>to use a credit card, Venmo or PayPal.</a:t>
            </a:r>
          </a:p>
          <a:p>
            <a:pPr marL="342900" indent="-342900" defTabSz="4572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  <a:defRPr/>
            </a:pPr>
            <a:r>
              <a:rPr lang="en-US" b="1">
                <a:solidFill>
                  <a:srgbClr val="E21A23"/>
                </a:solidFill>
                <a:ea typeface="Calibri" panose="020F0502020204030204" pitchFamily="34" charset="0"/>
              </a:rPr>
              <a:t>Temporary Access: </a:t>
            </a:r>
            <a:r>
              <a:rPr lang="en-US">
                <a:solidFill>
                  <a:prstClr val="black"/>
                </a:solidFill>
                <a:ea typeface="Calibri" panose="020F0502020204030204" pitchFamily="34" charset="0"/>
              </a:rPr>
              <a:t>Click</a:t>
            </a:r>
            <a:r>
              <a:rPr lang="en-US" b="1">
                <a:solidFill>
                  <a:prstClr val="black"/>
                </a:solidFill>
                <a:ea typeface="Calibri" panose="020F0502020204030204" pitchFamily="34" charset="0"/>
              </a:rPr>
              <a:t> Access Now </a:t>
            </a:r>
            <a:r>
              <a:rPr lang="en-US">
                <a:solidFill>
                  <a:prstClr val="black"/>
                </a:solidFill>
                <a:ea typeface="Calibri" panose="020F0502020204030204" pitchFamily="34" charset="0"/>
              </a:rPr>
              <a:t>for two-week temporary access.</a:t>
            </a:r>
          </a:p>
          <a:p>
            <a:pPr defTabSz="457200">
              <a:lnSpc>
                <a:spcPct val="107000"/>
              </a:lnSpc>
              <a:spcAft>
                <a:spcPts val="800"/>
              </a:spcAft>
              <a:defRPr/>
            </a:pPr>
            <a:endParaRPr lang="en-US">
              <a:solidFill>
                <a:prstClr val="black"/>
              </a:solidFill>
              <a:latin typeface="Arial"/>
              <a:ea typeface="Calibri" panose="020F0502020204030204" pitchFamily="34" charset="0"/>
              <a:cs typeface="Times New Roman"/>
            </a:endParaRPr>
          </a:p>
          <a:p>
            <a:endParaRPr lang="en-US" dirty="0"/>
          </a:p>
        </p:txBody>
      </p:sp>
      <p:pic>
        <p:nvPicPr>
          <p:cNvPr id="9" name="Picture 8" descr="Screenshot of the Connect Course Access page showing the 3 different options to access the course. ">
            <a:extLst>
              <a:ext uri="{FF2B5EF4-FFF2-40B4-BE49-F238E27FC236}">
                <a16:creationId xmlns:a16="http://schemas.microsoft.com/office/drawing/2014/main" id="{79BDB57A-EF01-1D38-B861-FA2279E5C5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2875" y="1385454"/>
            <a:ext cx="6751796" cy="5169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255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9E7C4-3776-7E45-0132-1F4CB8DE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D99D-2C1B-FDCE-788D-C0A7FF819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4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2EF2DF4D-AF7B-BF5F-40E2-BBD1DCBAE7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Connect Standalone</a:t>
            </a:r>
          </a:p>
        </p:txBody>
      </p:sp>
      <p:pic>
        <p:nvPicPr>
          <p:cNvPr id="6" name="Picture 5" descr="Screenshot of the Secure checkout page.">
            <a:extLst>
              <a:ext uri="{FF2B5EF4-FFF2-40B4-BE49-F238E27FC236}">
                <a16:creationId xmlns:a16="http://schemas.microsoft.com/office/drawing/2014/main" id="{86532DAD-E194-B8F5-917C-A93BB8405C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408" y="1600200"/>
            <a:ext cx="5621728" cy="3886200"/>
          </a:xfrm>
          <a:prstGeom prst="rect">
            <a:avLst/>
          </a:prstGeom>
        </p:spPr>
      </p:pic>
      <p:pic>
        <p:nvPicPr>
          <p:cNvPr id="9" name="Picture 8" descr="Screenshot of the bottom half of the secure checkout page where the billing address is completed. Click Review Order once filled out. ">
            <a:extLst>
              <a:ext uri="{FF2B5EF4-FFF2-40B4-BE49-F238E27FC236}">
                <a16:creationId xmlns:a16="http://schemas.microsoft.com/office/drawing/2014/main" id="{9EB47056-BFF7-D3AE-79E1-DCC32797C2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81236" y="3429000"/>
            <a:ext cx="4877954" cy="297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44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8A716-DACA-CF3D-863F-8EFA576259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17D12E-7A7F-F8A2-7B40-F499FFBB4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5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F170EE61-FE37-21B4-331D-043B6C0D20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Connect Standalone</a:t>
            </a:r>
          </a:p>
        </p:txBody>
      </p:sp>
      <p:pic>
        <p:nvPicPr>
          <p:cNvPr id="8" name="Picture 7" descr="Screenshot of the page where you complete and confirm the Connect order.">
            <a:extLst>
              <a:ext uri="{FF2B5EF4-FFF2-40B4-BE49-F238E27FC236}">
                <a16:creationId xmlns:a16="http://schemas.microsoft.com/office/drawing/2014/main" id="{9BCF9FCF-F3C0-FAF7-E95A-231A1253BA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2563" y="1582016"/>
            <a:ext cx="9286875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065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>
            <a:noAutofit/>
          </a:bodyPr>
          <a:lstStyle/>
          <a:p>
            <a:r>
              <a:rPr lang="en-US" sz="2200" dirty="0">
                <a:latin typeface="Arial"/>
                <a:cs typeface="Arial"/>
              </a:rPr>
              <a:t>Slides Available for the First Day of Class: Sharpen Companion, non-IA, Standalone</a:t>
            </a:r>
            <a:endParaRPr lang="en-US" sz="22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6966" y="1951406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Connect and Sharpen</a:t>
            </a:r>
            <a:r>
              <a:rPr lang="en-US" sz="1400" dirty="0">
                <a:latin typeface="Arial"/>
                <a:cs typeface="Arial"/>
              </a:rPr>
              <a:t>:</a:t>
            </a:r>
            <a:endParaRPr lang="en-US" sz="1400" strike="sngStrike" dirty="0">
              <a:highlight>
                <a:srgbClr val="FFFF00"/>
              </a:highlight>
              <a:latin typeface="Arial"/>
              <a:cs typeface="Arial"/>
            </a:endParaRP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and Sharpen Companion FDOC Slides 10 – 17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Purchase Flows</a:t>
            </a:r>
            <a:endParaRPr lang="en-US" sz="1400" dirty="0"/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Non-IA: Connect without an LMS Slides 18 – 26</a:t>
            </a:r>
            <a:endParaRPr lang="en-US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Log-In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Non-IA and IA: Connect without an LMS Slides 27 – 30 </a:t>
            </a:r>
            <a:endParaRPr lang="en-US" dirty="0"/>
          </a:p>
          <a:p>
            <a:pPr>
              <a:buFont typeface="Wingdings,Sans-Serif" panose="020B0604020202020204" pitchFamily="34" charset="0"/>
              <a:buChar char="q"/>
            </a:pPr>
            <a:endParaRPr lang="en-US" sz="1400" dirty="0">
              <a:latin typeface="Arial"/>
              <a:cs typeface="Arial"/>
            </a:endParaRPr>
          </a:p>
          <a:p>
            <a:pPr>
              <a:buFont typeface="Wingdings,Sans-Serif" panose="020B0604020202020204" pitchFamily="34" charset="0"/>
              <a:buChar char="q"/>
            </a:pPr>
            <a:endParaRPr lang="en-US" sz="1400" dirty="0"/>
          </a:p>
          <a:p>
            <a:pPr>
              <a:buFont typeface="Wingdings" panose="020B0604020202020204" pitchFamily="34" charset="0"/>
              <a:buChar char="q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ppt/theme/theme11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2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Split Conten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C3BA3656-BF0F-DA41-B94C-4D0F4B5A7075}"/>
    </a:ext>
  </a:extLst>
</a:theme>
</file>

<file path=ppt/theme/theme5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6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7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8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9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4F98F79-CDE5-4D73-B2C6-1BC6C1BC02F1}">
  <ds:schemaRefs>
    <ds:schemaRef ds:uri="http://purl.org/dc/elements/1.1/"/>
    <ds:schemaRef ds:uri="http://schemas.microsoft.com/office/2006/documentManagement/types"/>
    <ds:schemaRef ds:uri="http://www.w3.org/XML/1998/namespace"/>
    <ds:schemaRef ds:uri="4f83251b-4d3b-4580-8981-be5e2b08b791"/>
    <ds:schemaRef ds:uri="http://purl.org/dc/terms/"/>
    <ds:schemaRef ds:uri="http://schemas.openxmlformats.org/package/2006/metadata/core-properties"/>
    <ds:schemaRef ds:uri="55eee036-b312-4691-be2e-efe9fdaf1737"/>
    <ds:schemaRef ds:uri="http://purl.org/dc/dcmitype/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6E9CF1D-72E2-4AF5-BE3B-88E3A8DD6DF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eee036-b312-4691-be2e-efe9fdaf1737"/>
    <ds:schemaRef ds:uri="4f83251b-4d3b-4580-8981-be5e2b08b7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9</TotalTime>
  <Words>1780</Words>
  <Application>Microsoft Macintosh PowerPoint</Application>
  <PresentationFormat>Widescreen</PresentationFormat>
  <Paragraphs>233</Paragraphs>
  <Slides>30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52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Times New Roman</vt:lpstr>
      <vt:lpstr>Wingdings</vt:lpstr>
      <vt:lpstr>Wingdings,Sans-Serif</vt:lpstr>
      <vt:lpstr>Cover Slides</vt:lpstr>
      <vt:lpstr>Table of Contents Slides</vt:lpstr>
      <vt:lpstr>Chapter Slides</vt:lpstr>
      <vt:lpstr>Split Content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McGraw Hill Connect ®</vt:lpstr>
      <vt:lpstr>Connect is your personalized digital learning experience designed to help you optimize study time and ramp up your grade potential.</vt:lpstr>
      <vt:lpstr>Make the Most of Connect!</vt:lpstr>
      <vt:lpstr>Step 1</vt:lpstr>
      <vt:lpstr>Step 2</vt:lpstr>
      <vt:lpstr>Step 3</vt:lpstr>
      <vt:lpstr>Step 4</vt:lpstr>
      <vt:lpstr>Step 5</vt:lpstr>
      <vt:lpstr>Slides Available for the First Day of Class: Sharpen Companion, non-IA, Standalone</vt:lpstr>
      <vt:lpstr>Getting Started with McGraw Hill Connect ® and Sharpen</vt:lpstr>
      <vt:lpstr>Students: What is Sharpen?</vt:lpstr>
      <vt:lpstr>Sharpen is the ultimate college study app for exam prep</vt:lpstr>
      <vt:lpstr>Download the Sharpen College Study App – Scan This Code​</vt:lpstr>
      <vt:lpstr>Students, here are tips to make the most of Connect: </vt:lpstr>
      <vt:lpstr>Students, here are some tips to ace your exams with Sharpen:</vt:lpstr>
      <vt:lpstr>Students: Study on your Smartphone or Tablet!</vt:lpstr>
      <vt:lpstr>Connect Student Support Learn how to register, navigate Connect, use SmartBook®, download the ReadAnywhere® app, and more!  mheducation.com/highered/support/student/connect.html Plus, access technical support via chat  or phone at (800) 331-5094. Hours of Operation: Sunday: 12 PM to 12 AM ET Monday–Thursday: 24 hours Friday: 12 AM to 9 PM ET Saturday: 10 AM to 8 PM ET</vt:lpstr>
      <vt:lpstr>Sharpen Companion Purchase Flow Non-IA Registration: Connect without a Learning Management System (LMS) </vt:lpstr>
      <vt:lpstr>Step 1: Register Directly in Connect</vt:lpstr>
      <vt:lpstr>Step 2: </vt:lpstr>
      <vt:lpstr>Step 3:</vt:lpstr>
      <vt:lpstr>Step 4A:</vt:lpstr>
      <vt:lpstr>Step 4B-4C:</vt:lpstr>
      <vt:lpstr>Step 5A: </vt:lpstr>
      <vt:lpstr>Step 5B-5C: </vt:lpstr>
      <vt:lpstr>Step 6C: </vt:lpstr>
      <vt:lpstr>Sharpen Companion Log-In Flow Non-IA and IA Registration: Connect without a Learning Management System (LMS)  </vt:lpstr>
      <vt:lpstr>Sharpen Companion Log-In Flow Part 1</vt:lpstr>
      <vt:lpstr>Sharpen Companion Log-In Flow Part 2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94</cp:revision>
  <dcterms:created xsi:type="dcterms:W3CDTF">2023-07-10T01:20:11Z</dcterms:created>
  <dcterms:modified xsi:type="dcterms:W3CDTF">2025-05-28T22:00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lpwstr>2220300.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</Properties>
</file>